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tags/tag124.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8.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9.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0.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1.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2.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3.xml" ContentType="application/vnd.openxmlformats-officedocument.them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4.xml" ContentType="application/vnd.openxmlformats-officedocument.them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5.xml" ContentType="application/vnd.openxmlformats-officedocument.theme+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6.xml" ContentType="application/vnd.openxmlformats-officedocument.them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7.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8.xml" ContentType="application/vnd.openxmlformats-officedocument.them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9.xml" ContentType="application/vnd.openxmlformats-officedocument.them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notesSlides/notesSlide3.xml" ContentType="application/vnd.openxmlformats-officedocument.presentationml.notesSlide+xml"/>
  <Override PartName="/ppt/tags/tag4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3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38.xml" ContentType="application/vnd.openxmlformats-officedocument.presentationml.tags+xml"/>
  <Override PartName="/ppt/notesSlides/notesSlide8.xml" ContentType="application/vnd.openxmlformats-officedocument.presentationml.notesSlide+xml"/>
  <Override PartName="/ppt/tags/tag439.xml" ContentType="application/vnd.openxmlformats-officedocument.presentationml.tags+xml"/>
  <Override PartName="/ppt/notesSlides/notesSlide9.xml" ContentType="application/vnd.openxmlformats-officedocument.presentationml.notesSlide+xml"/>
  <Override PartName="/ppt/tags/tag440.xml" ContentType="application/vnd.openxmlformats-officedocument.presentationml.tags+xml"/>
  <Override PartName="/ppt/notesSlides/notesSlide10.xml" ContentType="application/vnd.openxmlformats-officedocument.presentationml.notesSlide+xml"/>
  <Override PartName="/ppt/tags/tag441.xml" ContentType="application/vnd.openxmlformats-officedocument.presentationml.tags+xml"/>
  <Override PartName="/ppt/notesSlides/notesSlide11.xml" ContentType="application/vnd.openxmlformats-officedocument.presentationml.notesSlide+xml"/>
  <Override PartName="/ppt/tags/tag442.xml" ContentType="application/vnd.openxmlformats-officedocument.presentationml.tags+xml"/>
  <Override PartName="/ppt/notesSlides/notesSlide12.xml" ContentType="application/vnd.openxmlformats-officedocument.presentationml.notesSlide+xml"/>
  <Override PartName="/ppt/tags/tag443.xml" ContentType="application/vnd.openxmlformats-officedocument.presentationml.tags+xml"/>
  <Override PartName="/ppt/notesSlides/notesSlide13.xml" ContentType="application/vnd.openxmlformats-officedocument.presentationml.notesSlide+xml"/>
  <Override PartName="/ppt/tags/tag444.xml" ContentType="application/vnd.openxmlformats-officedocument.presentationml.tags+xml"/>
  <Override PartName="/ppt/notesSlides/notesSlide14.xml" ContentType="application/vnd.openxmlformats-officedocument.presentationml.notesSlide+xml"/>
  <Override PartName="/ppt/tags/tag445.xml" ContentType="application/vnd.openxmlformats-officedocument.presentationml.tags+xml"/>
  <Override PartName="/ppt/notesSlides/notesSlide15.xml" ContentType="application/vnd.openxmlformats-officedocument.presentationml.notesSlide+xml"/>
  <Override PartName="/ppt/tags/tag446.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 id="2147486583" r:id="rId5"/>
    <p:sldMasterId id="2147486602" r:id="rId6"/>
    <p:sldMasterId id="2147486641" r:id="rId7"/>
    <p:sldMasterId id="2147486662" r:id="rId8"/>
    <p:sldMasterId id="2147486684" r:id="rId9"/>
    <p:sldMasterId id="2147486694" r:id="rId10"/>
    <p:sldMasterId id="2147486714" r:id="rId11"/>
    <p:sldMasterId id="2147486734" r:id="rId12"/>
    <p:sldMasterId id="2147486755" r:id="rId13"/>
    <p:sldMasterId id="2147486775" r:id="rId14"/>
    <p:sldMasterId id="2147486795" r:id="rId15"/>
    <p:sldMasterId id="2147486815" r:id="rId16"/>
    <p:sldMasterId id="2147486835" r:id="rId17"/>
    <p:sldMasterId id="2147486856" r:id="rId18"/>
    <p:sldMasterId id="2147486876" r:id="rId19"/>
    <p:sldMasterId id="2147486898" r:id="rId20"/>
    <p:sldMasterId id="2147486918" r:id="rId21"/>
    <p:sldMasterId id="2147486939" r:id="rId22"/>
  </p:sldMasterIdLst>
  <p:notesMasterIdLst>
    <p:notesMasterId r:id="rId44"/>
  </p:notesMasterIdLst>
  <p:handoutMasterIdLst>
    <p:handoutMasterId r:id="rId45"/>
  </p:handoutMasterIdLst>
  <p:sldIdLst>
    <p:sldId id="330" r:id="rId23"/>
    <p:sldId id="2142533885" r:id="rId24"/>
    <p:sldId id="878" r:id="rId25"/>
    <p:sldId id="2147376945" r:id="rId26"/>
    <p:sldId id="2147376950" r:id="rId27"/>
    <p:sldId id="339" r:id="rId28"/>
    <p:sldId id="2147376951" r:id="rId29"/>
    <p:sldId id="340" r:id="rId30"/>
    <p:sldId id="2147376958" r:id="rId31"/>
    <p:sldId id="2147376910" r:id="rId32"/>
    <p:sldId id="2147376952" r:id="rId33"/>
    <p:sldId id="2147376953" r:id="rId34"/>
    <p:sldId id="2147376954" r:id="rId35"/>
    <p:sldId id="2147376955" r:id="rId36"/>
    <p:sldId id="870" r:id="rId37"/>
    <p:sldId id="2147376956" r:id="rId38"/>
    <p:sldId id="2147376960" r:id="rId39"/>
    <p:sldId id="2147376961" r:id="rId40"/>
    <p:sldId id="2147376962" r:id="rId41"/>
    <p:sldId id="2147376964" r:id="rId42"/>
    <p:sldId id="2147376949" r:id="rId43"/>
  </p:sldIdLst>
  <p:sldSz cx="9144000" cy="5143500" type="screen16x9"/>
  <p:notesSz cx="9944100" cy="6805613"/>
  <p:custDataLst>
    <p:tags r:id="rId46"/>
  </p:custDataLst>
  <p:defaultTextStyle>
    <a:defPPr>
      <a:defRPr lang="en-GB"/>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524" userDrawn="1">
          <p15:clr>
            <a:srgbClr val="A4A3A4"/>
          </p15:clr>
        </p15:guide>
        <p15:guide id="2" pos="2381" userDrawn="1">
          <p15:clr>
            <a:srgbClr val="A4A3A4"/>
          </p15:clr>
        </p15:guide>
        <p15:guide id="3" pos="2948" userDrawn="1">
          <p15:clr>
            <a:srgbClr val="A4A3A4"/>
          </p15:clr>
        </p15:guide>
        <p15:guide id="4" pos="3039" userDrawn="1">
          <p15:clr>
            <a:srgbClr val="A4A3A4"/>
          </p15:clr>
        </p15:guide>
      </p15:sldGuideLst>
    </p:ext>
    <p:ext uri="{2D200454-40CA-4A62-9FC3-DE9A4176ACB9}">
      <p15:notesGuideLst xmlns:p15="http://schemas.microsoft.com/office/powerpoint/2012/main">
        <p15:guide id="1" orient="horz" pos="2144" userDrawn="1">
          <p15:clr>
            <a:srgbClr val="A4A3A4"/>
          </p15:clr>
        </p15:guide>
        <p15:guide id="2" pos="313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E255618-9755-CC5F-66ED-A474981D63D0}" name="Tomé Rodrigues, Vítor" initials="TV" userId="S::vitor.rodrigues@ecb.europa.eu::edb30b79-944c-43cf-9410-46ad131d532a" providerId="AD"/>
  <p188:author id="{98EFB222-E843-97A8-5AA2-2274A641B693}" name="Hassanzadeh, Martin" initials="HM" userId="S::Martin.Hassanzadeh@ecb.europa.eu::6cfb36ea-ce63-4809-89d3-9727bf6537f4" providerId="AD"/>
  <p188:author id="{A9BE746C-7F85-E147-C229-C949426EA8D2}" name="Martins Vaz, Afonso" initials="MVA" userId="S::Afonso.Martins_Vaz@ecb.europa.eu::fa3408bd-99e8-4eaf-aab7-0b38659fb7a1" providerId="AD"/>
  <p188:author id="{947D9A6E-3143-2690-C017-8211B4C5006A}" name="Hotten, Raphaela" initials="HR" userId="S::Raphaela.Hotten@ecb.europa.eu::19332347-978b-43fa-ac2b-bfed11646c33" providerId="AD"/>
  <p188:author id="{1A3D7374-3F00-2ACA-C697-59C06F2B7A78}" name="Perst, Thomas" initials="PT" userId="S::thomas.perst.external@ecb.europa.eu::4a60cd7a-58a7-41dc-a1e6-69a77e1d8e65" providerId="AD"/>
  <p188:author id="{8546AC81-990B-4A95-EF45-D49469B60DFF}" name="Jahning, Malte Kristian" initials="JMK" userId="S::Malte.Jahning@ecb.europa.eu::9b698f34-c0e9-4a5e-8e20-976c542f7dcc" providerId="AD"/>
  <p188:author id="{73875CA9-3188-9A8D-99A0-47FBDB9EEA3F}" name="Benevolo, Francesca" initials="BF" userId="S::Francesca.Benevolo@ecb.europa.eu::3b3180d2-aec9-4480-aee8-69afadf89cc5" providerId="AD"/>
  <p188:author id="{D84F9CA9-704B-19CA-55BF-1543050BB35B}" name="Martins Vaz, Afonso" initials="MA" userId="S::afonso.martins_vaz@ecb.europa.eu::fa3408bd-99e8-4eaf-aab7-0b38659fb7a1" providerId="AD"/>
  <p188:author id="{CDD03AB1-B7CD-7E30-9E30-A4461C2D2292}" name="Benevolo, Francesca" initials="BF" userId="S::francesca.benevolo@ecb.europa.eu::3b3180d2-aec9-4480-aee8-69afadf89cc5" providerId="AD"/>
  <p188:author id="{56DFF6D9-ADD2-3669-C1CF-9596D6D4503C}" name="Brakemeier, Hendrik" initials="BH" userId="S::hendrik.brakemeier@ecb.europa.eu::3f758928-0a15-4a23-8521-797b8d2dc2bc" providerId="AD"/>
  <p188:author id="{297D5EF8-32E4-38FB-662C-5F7F20BD26D6}" name="Lopez Jimenez, Jaime" initials="LJ" userId="S::jaime.lopez_jimenez@ecb.europa.eu::9a51b9fa-1d81-48b7-a60f-3dc9f868f6c3" providerId="AD"/>
  <p188:author id="{8C64AFFF-BF27-2C21-4C9F-1D2DAAB6FA2F}" name="Poloček, Adam" initials="PA" userId="S::adam.polocek@ecb.europa.eu::0241498b-4341-4806-a9d8-08b263738f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Chiarella, Vincenzo" initials="CV" lastIdx="11" clrIdx="0"/>
  <p:cmAuthor id="1" name="Hodbod, Alexander Ivan" initials="HAI" lastIdx="1" clrIdx="1"/>
  <p:cmAuthor id="2" name="Gil Almansa, Francisco" initials="Gil" lastIdx="1" clrIdx="2"/>
  <p:cmAuthor id="3" name="Schackis, Daniela" initials="SD" lastIdx="9" clrIdx="3"/>
  <p:cmAuthor id="4" name="Doll, Hendrik Christian" initials="DHC" lastIdx="1" clrIdx="4">
    <p:extLst>
      <p:ext uri="{19B8F6BF-5375-455C-9EA6-DF929625EA0E}">
        <p15:presenceInfo xmlns:p15="http://schemas.microsoft.com/office/powerpoint/2012/main" userId="S::hendrik_christian.doll@ecb.europa.eu::ae3d62e1-1fb1-4f34-82fb-2b7663962174" providerId="AD"/>
      </p:ext>
    </p:extLst>
  </p:cmAuthor>
  <p:cmAuthor id="5" name="Fedesin, Michael" initials="FM" lastIdx="2" clrIdx="5">
    <p:extLst>
      <p:ext uri="{19B8F6BF-5375-455C-9EA6-DF929625EA0E}">
        <p15:presenceInfo xmlns:p15="http://schemas.microsoft.com/office/powerpoint/2012/main" userId="S::michael.fedesin@ecb.europa.eu::fab75718-bfb5-4e09-ad32-c035e3557842" providerId="AD"/>
      </p:ext>
    </p:extLst>
  </p:cmAuthor>
  <p:cmAuthor id="6" name="Köhler, Maia" initials="KM" lastIdx="1" clrIdx="6">
    <p:extLst>
      <p:ext uri="{19B8F6BF-5375-455C-9EA6-DF929625EA0E}">
        <p15:presenceInfo xmlns:p15="http://schemas.microsoft.com/office/powerpoint/2012/main" userId="S::Maia.Koehler@ecb.europa.eu::9a832c61-e3fe-4dc1-b757-b5869de4684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CEFF"/>
    <a:srgbClr val="8AAED6"/>
    <a:srgbClr val="F6F6F6"/>
    <a:srgbClr val="1B7D7D"/>
    <a:srgbClr val="008080"/>
    <a:srgbClr val="FFFFFF"/>
    <a:srgbClr val="002673"/>
    <a:srgbClr val="003399"/>
    <a:srgbClr val="76B1B1"/>
    <a:srgbClr val="7F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6323" autoAdjust="0"/>
  </p:normalViewPr>
  <p:slideViewPr>
    <p:cSldViewPr snapToGrid="0">
      <p:cViewPr varScale="1">
        <p:scale>
          <a:sx n="139" d="100"/>
          <a:sy n="139" d="100"/>
        </p:scale>
        <p:origin x="732" y="114"/>
      </p:cViewPr>
      <p:guideLst>
        <p:guide orient="horz" pos="1524"/>
        <p:guide pos="2381"/>
        <p:guide pos="2948"/>
        <p:guide pos="3039"/>
      </p:guideLst>
    </p:cSldViewPr>
  </p:slideViewPr>
  <p:notesTextViewPr>
    <p:cViewPr>
      <p:scale>
        <a:sx n="1" d="1"/>
        <a:sy n="1" d="1"/>
      </p:scale>
      <p:origin x="0" y="0"/>
    </p:cViewPr>
  </p:notesTextViewPr>
  <p:notesViewPr>
    <p:cSldViewPr snapToGrid="0">
      <p:cViewPr>
        <p:scale>
          <a:sx n="1" d="2"/>
          <a:sy n="1" d="2"/>
        </p:scale>
        <p:origin x="0" y="0"/>
      </p:cViewPr>
      <p:guideLst>
        <p:guide orient="horz" pos="2144"/>
        <p:guide pos="313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notesMaster" Target="notesMasters/notesMaster1.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110" cy="340281"/>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5633264" y="0"/>
            <a:ext cx="4309110" cy="340281"/>
          </a:xfrm>
          <a:prstGeom prst="rect">
            <a:avLst/>
          </a:prstGeom>
        </p:spPr>
        <p:txBody>
          <a:bodyPr vert="horz" lIns="91440" tIns="45720" rIns="91440" bIns="45720" rtlCol="0"/>
          <a:lstStyle>
            <a:lvl1pPr algn="r">
              <a:defRPr sz="1200"/>
            </a:lvl1pPr>
          </a:lstStyle>
          <a:p>
            <a:pPr>
              <a:defRPr/>
            </a:pPr>
            <a:fld id="{F17F434F-700C-46A6-AC44-19391F188A47}" type="datetimeFigureOut">
              <a:rPr lang="en-GB"/>
              <a:pPr>
                <a:defRPr/>
              </a:pPr>
              <a:t>03/10/2024</a:t>
            </a:fld>
            <a:endParaRPr lang="en-GB"/>
          </a:p>
        </p:txBody>
      </p:sp>
      <p:sp>
        <p:nvSpPr>
          <p:cNvPr id="4" name="Footer Placeholder 3"/>
          <p:cNvSpPr>
            <a:spLocks noGrp="1"/>
          </p:cNvSpPr>
          <p:nvPr>
            <p:ph type="ftr" sz="quarter" idx="2"/>
          </p:nvPr>
        </p:nvSpPr>
        <p:spPr>
          <a:xfrm>
            <a:off x="0" y="6463757"/>
            <a:ext cx="4309110" cy="340281"/>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5633264" y="6463757"/>
            <a:ext cx="4309110" cy="340281"/>
          </a:xfrm>
          <a:prstGeom prst="rect">
            <a:avLst/>
          </a:prstGeom>
        </p:spPr>
        <p:txBody>
          <a:bodyPr vert="horz" lIns="91440" tIns="45720" rIns="91440" bIns="45720" rtlCol="0" anchor="b"/>
          <a:lstStyle>
            <a:lvl1pPr algn="r">
              <a:defRPr sz="1200"/>
            </a:lvl1pPr>
          </a:lstStyle>
          <a:p>
            <a:pPr>
              <a:defRPr/>
            </a:pPr>
            <a:fld id="{F234CBC7-D9CE-4B47-B776-0EAA113337A6}" type="slidenum">
              <a:rPr lang="en-GB"/>
              <a:pPr>
                <a:defRPr/>
              </a:pPr>
              <a:t>‹#›</a:t>
            </a:fld>
            <a:endParaRPr lang="en-GB"/>
          </a:p>
        </p:txBody>
      </p:sp>
    </p:spTree>
    <p:extLst>
      <p:ext uri="{BB962C8B-B14F-4D97-AF65-F5344CB8AC3E}">
        <p14:creationId xmlns:p14="http://schemas.microsoft.com/office/powerpoint/2010/main" val="36713636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9110" cy="340281"/>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5633264" y="0"/>
            <a:ext cx="4309110" cy="340281"/>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97B22118-4CE2-4E6B-B1E5-DECDDA16E49E}" type="datetimeFigureOut">
              <a:rPr lang="en-GB"/>
              <a:pPr>
                <a:defRPr/>
              </a:pPr>
              <a:t>03/10/2024</a:t>
            </a:fld>
            <a:endParaRPr lang="en-GB"/>
          </a:p>
        </p:txBody>
      </p:sp>
      <p:sp>
        <p:nvSpPr>
          <p:cNvPr id="4" name="Slide Image Placeholder 3"/>
          <p:cNvSpPr>
            <a:spLocks noGrp="1" noRot="1" noChangeAspect="1"/>
          </p:cNvSpPr>
          <p:nvPr>
            <p:ph type="sldImg" idx="2"/>
          </p:nvPr>
        </p:nvSpPr>
        <p:spPr>
          <a:xfrm>
            <a:off x="2705100" y="511175"/>
            <a:ext cx="4533900" cy="2551113"/>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Notes Placeholder 4"/>
          <p:cNvSpPr>
            <a:spLocks noGrp="1"/>
          </p:cNvSpPr>
          <p:nvPr>
            <p:ph type="body" sz="quarter" idx="3"/>
          </p:nvPr>
        </p:nvSpPr>
        <p:spPr>
          <a:xfrm>
            <a:off x="994410" y="3232666"/>
            <a:ext cx="7955280" cy="3062526"/>
          </a:xfrm>
          <a:prstGeom prst="rect">
            <a:avLst/>
          </a:prstGeom>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6" name="Footer Placeholder 5"/>
          <p:cNvSpPr>
            <a:spLocks noGrp="1"/>
          </p:cNvSpPr>
          <p:nvPr>
            <p:ph type="ftr" sz="quarter" idx="4"/>
          </p:nvPr>
        </p:nvSpPr>
        <p:spPr>
          <a:xfrm>
            <a:off x="0" y="6463757"/>
            <a:ext cx="4309110" cy="34028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5633264" y="6463757"/>
            <a:ext cx="4309110" cy="34028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67F2E1EE-DA05-47C4-B8BB-C96BE8BF00C8}" type="slidenum">
              <a:rPr lang="en-GB"/>
              <a:pPr>
                <a:defRPr/>
              </a:pPr>
              <a:t>‹#›</a:t>
            </a:fld>
            <a:endParaRPr lang="en-GB"/>
          </a:p>
        </p:txBody>
      </p:sp>
    </p:spTree>
    <p:extLst>
      <p:ext uri="{BB962C8B-B14F-4D97-AF65-F5344CB8AC3E}">
        <p14:creationId xmlns:p14="http://schemas.microsoft.com/office/powerpoint/2010/main" val="30844597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pPr>
                <a:defRPr/>
              </a:pPr>
              <a:t>1</a:t>
            </a:fld>
            <a:endParaRPr lang="en-GB"/>
          </a:p>
        </p:txBody>
      </p:sp>
    </p:spTree>
    <p:extLst>
      <p:ext uri="{BB962C8B-B14F-4D97-AF65-F5344CB8AC3E}">
        <p14:creationId xmlns:p14="http://schemas.microsoft.com/office/powerpoint/2010/main" val="35053753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7337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87238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9014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12277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5425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225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1365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4" name="Slide Number Placeholder 3"/>
          <p:cNvSpPr>
            <a:spLocks noGrp="1"/>
          </p:cNvSpPr>
          <p:nvPr>
            <p:ph type="sldNum" sz="quarter" idx="5"/>
          </p:nvPr>
        </p:nvSpPr>
        <p:spPr/>
        <p:txBody>
          <a:bodyPr/>
          <a:lstStyle/>
          <a:p>
            <a:pPr>
              <a:defRPr/>
            </a:pPr>
            <a:fld id="{0EC18FEB-43E9-4B20-9BB4-A0700AA47616}" type="slidenum">
              <a:rPr lang="en-GB" smtClean="0"/>
              <a:pPr>
                <a:defRPr/>
              </a:pPr>
              <a:t>2</a:t>
            </a:fld>
            <a:endParaRPr lang="en-GB" dirty="0"/>
          </a:p>
        </p:txBody>
      </p:sp>
    </p:spTree>
    <p:extLst>
      <p:ext uri="{BB962C8B-B14F-4D97-AF65-F5344CB8AC3E}">
        <p14:creationId xmlns:p14="http://schemas.microsoft.com/office/powerpoint/2010/main" val="2267584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move green subtitles</a:t>
            </a:r>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pPr>
                <a:defRPr/>
              </a:pPr>
              <a:t>4</a:t>
            </a:fld>
            <a:endParaRPr lang="en-GB"/>
          </a:p>
        </p:txBody>
      </p:sp>
    </p:spTree>
    <p:extLst>
      <p:ext uri="{BB962C8B-B14F-4D97-AF65-F5344CB8AC3E}">
        <p14:creationId xmlns:p14="http://schemas.microsoft.com/office/powerpoint/2010/main" val="1950367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1433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4" name="Slide Number Placeholder 3"/>
          <p:cNvSpPr>
            <a:spLocks noGrp="1"/>
          </p:cNvSpPr>
          <p:nvPr>
            <p:ph type="sldNum" sz="quarter" idx="5"/>
          </p:nvPr>
        </p:nvSpPr>
        <p:spPr/>
        <p:txBody>
          <a:bodyPr/>
          <a:lstStyle/>
          <a:p>
            <a:pPr>
              <a:defRPr/>
            </a:pPr>
            <a:fld id="{B8312776-F69F-44BA-8C43-23A10980200A}" type="slidenum">
              <a:rPr lang="en-GB" smtClean="0"/>
              <a:pPr>
                <a:defRPr/>
              </a:pPr>
              <a:t>6</a:t>
            </a:fld>
            <a:endParaRPr lang="en-GB" dirty="0"/>
          </a:p>
        </p:txBody>
      </p:sp>
    </p:spTree>
    <p:extLst>
      <p:ext uri="{BB962C8B-B14F-4D97-AF65-F5344CB8AC3E}">
        <p14:creationId xmlns:p14="http://schemas.microsoft.com/office/powerpoint/2010/main" val="822323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move green subtitles</a:t>
            </a:r>
          </a:p>
        </p:txBody>
      </p:sp>
      <p:sp>
        <p:nvSpPr>
          <p:cNvPr id="4" name="Slide Number Placeholder 3"/>
          <p:cNvSpPr>
            <a:spLocks noGrp="1"/>
          </p:cNvSpPr>
          <p:nvPr>
            <p:ph type="sldNum" sz="quarter" idx="10"/>
          </p:nvPr>
        </p:nvSpPr>
        <p:spPr/>
        <p:txBody>
          <a:bodyPr/>
          <a:lstStyle/>
          <a:p>
            <a:pPr>
              <a:defRPr/>
            </a:pPr>
            <a:fld id="{67F2E1EE-DA05-47C4-B8BB-C96BE8BF00C8}" type="slidenum">
              <a:rPr lang="en-GB" smtClean="0"/>
              <a:pPr>
                <a:defRPr/>
              </a:pPr>
              <a:t>7</a:t>
            </a:fld>
            <a:endParaRPr lang="en-GB"/>
          </a:p>
        </p:txBody>
      </p:sp>
    </p:spTree>
    <p:extLst>
      <p:ext uri="{BB962C8B-B14F-4D97-AF65-F5344CB8AC3E}">
        <p14:creationId xmlns:p14="http://schemas.microsoft.com/office/powerpoint/2010/main" val="978849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p>
        </p:txBody>
      </p:sp>
      <p:sp>
        <p:nvSpPr>
          <p:cNvPr id="4" name="Slide Number Placeholder 3"/>
          <p:cNvSpPr>
            <a:spLocks noGrp="1"/>
          </p:cNvSpPr>
          <p:nvPr>
            <p:ph type="sldNum" sz="quarter" idx="5"/>
          </p:nvPr>
        </p:nvSpPr>
        <p:spPr/>
        <p:txBody>
          <a:bodyPr/>
          <a:lstStyle/>
          <a:p>
            <a:pPr>
              <a:defRPr/>
            </a:pPr>
            <a:fld id="{B8312776-F69F-44BA-8C43-23A10980200A}" type="slidenum">
              <a:rPr lang="en-GB" smtClean="0"/>
              <a:pPr>
                <a:defRPr/>
              </a:pPr>
              <a:t>8</a:t>
            </a:fld>
            <a:endParaRPr lang="en-GB" dirty="0"/>
          </a:p>
        </p:txBody>
      </p:sp>
    </p:spTree>
    <p:extLst>
      <p:ext uri="{BB962C8B-B14F-4D97-AF65-F5344CB8AC3E}">
        <p14:creationId xmlns:p14="http://schemas.microsoft.com/office/powerpoint/2010/main" val="2338642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990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F2E1EE-DA05-47C4-B8BB-C96BE8BF00C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0796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image" Target="../media/image4.png"/><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slideMaster" Target="../slideMasters/slideMaster7.xml"/><Relationship Id="rId2" Type="http://schemas.openxmlformats.org/officeDocument/2006/relationships/tags" Target="../tags/tag127.xml"/><Relationship Id="rId16" Type="http://schemas.openxmlformats.org/officeDocument/2006/relationships/tags" Target="../tags/tag141.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image" Target="../media/image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146.x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image" Target="../media/image4.png"/><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slideMaster" Target="../slideMasters/slideMaster8.xml"/><Relationship Id="rId2" Type="http://schemas.openxmlformats.org/officeDocument/2006/relationships/tags" Target="../tags/tag149.xml"/><Relationship Id="rId16" Type="http://schemas.openxmlformats.org/officeDocument/2006/relationships/tags" Target="../tags/tag163.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tags" Target="../tags/tag162.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tags" Target="../tags/tag16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8.xml"/><Relationship Id="rId1" Type="http://schemas.openxmlformats.org/officeDocument/2006/relationships/tags" Target="../tags/tag168.xml"/><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18" Type="http://schemas.openxmlformats.org/officeDocument/2006/relationships/image" Target="../media/image4.png"/><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slideMaster" Target="../slideMasters/slideMaster9.xml"/><Relationship Id="rId2" Type="http://schemas.openxmlformats.org/officeDocument/2006/relationships/tags" Target="../tags/tag172.xml"/><Relationship Id="rId16" Type="http://schemas.openxmlformats.org/officeDocument/2006/relationships/tags" Target="../tags/tag186.xml"/><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tags" Target="../tags/tag181.xml"/><Relationship Id="rId5" Type="http://schemas.openxmlformats.org/officeDocument/2006/relationships/tags" Target="../tags/tag175.xml"/><Relationship Id="rId15" Type="http://schemas.openxmlformats.org/officeDocument/2006/relationships/tags" Target="../tags/tag185.xml"/><Relationship Id="rId10" Type="http://schemas.openxmlformats.org/officeDocument/2006/relationships/tags" Target="../tags/tag180.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8.xml"/><Relationship Id="rId1" Type="http://schemas.openxmlformats.org/officeDocument/2006/relationships/tags" Target="../tags/tag187.xml"/><Relationship Id="rId4" Type="http://schemas.openxmlformats.org/officeDocument/2006/relationships/image" Target="../media/image6.png"/></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0.xml"/><Relationship Id="rId1" Type="http://schemas.openxmlformats.org/officeDocument/2006/relationships/tags" Target="../tags/tag189.xml"/><Relationship Id="rId4" Type="http://schemas.openxmlformats.org/officeDocument/2006/relationships/image" Target="../media/image7.pn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image" Target="../media/image4.pn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slideMaster" Target="../slideMasters/slideMaster10.xml"/><Relationship Id="rId2" Type="http://schemas.openxmlformats.org/officeDocument/2006/relationships/tags" Target="../tags/tag193.xml"/><Relationship Id="rId16" Type="http://schemas.openxmlformats.org/officeDocument/2006/relationships/tags" Target="../tags/tag207.xml"/><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tags" Target="../tags/tag206.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9.xml"/><Relationship Id="rId1" Type="http://schemas.openxmlformats.org/officeDocument/2006/relationships/tags" Target="../tags/tag208.xml"/><Relationship Id="rId4" Type="http://schemas.openxmlformats.org/officeDocument/2006/relationships/image" Target="../media/image6.png"/></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1.xml"/><Relationship Id="rId1" Type="http://schemas.openxmlformats.org/officeDocument/2006/relationships/tags" Target="../tags/tag210.xml"/><Relationship Id="rId4" Type="http://schemas.openxmlformats.org/officeDocument/2006/relationships/image" Target="../media/image7.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0.xml"/><Relationship Id="rId1" Type="http://schemas.openxmlformats.org/officeDocument/2006/relationships/tags" Target="../tags/tag212.xml"/><Relationship Id="rId5" Type="http://schemas.openxmlformats.org/officeDocument/2006/relationships/image" Target="../media/image16.emf"/><Relationship Id="rId4" Type="http://schemas.openxmlformats.org/officeDocument/2006/relationships/oleObject" Target="../embeddings/oleObject29.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tags" Target="../tags/tag227.xml"/><Relationship Id="rId18" Type="http://schemas.openxmlformats.org/officeDocument/2006/relationships/slideMaster" Target="../slideMasters/slideMaster11.xml"/><Relationship Id="rId3" Type="http://schemas.openxmlformats.org/officeDocument/2006/relationships/tags" Target="../tags/tag217.xml"/><Relationship Id="rId21" Type="http://schemas.openxmlformats.org/officeDocument/2006/relationships/image" Target="../media/image17.emf"/><Relationship Id="rId7" Type="http://schemas.openxmlformats.org/officeDocument/2006/relationships/tags" Target="../tags/tag221.xml"/><Relationship Id="rId12" Type="http://schemas.openxmlformats.org/officeDocument/2006/relationships/tags" Target="../tags/tag226.xml"/><Relationship Id="rId17" Type="http://schemas.openxmlformats.org/officeDocument/2006/relationships/tags" Target="../tags/tag231.xml"/><Relationship Id="rId2" Type="http://schemas.openxmlformats.org/officeDocument/2006/relationships/tags" Target="../tags/tag216.xml"/><Relationship Id="rId16" Type="http://schemas.openxmlformats.org/officeDocument/2006/relationships/tags" Target="../tags/tag230.xml"/><Relationship Id="rId20" Type="http://schemas.openxmlformats.org/officeDocument/2006/relationships/oleObject" Target="../embeddings/oleObject31.bin"/><Relationship Id="rId1" Type="http://schemas.openxmlformats.org/officeDocument/2006/relationships/tags" Target="../tags/tag215.xml"/><Relationship Id="rId6" Type="http://schemas.openxmlformats.org/officeDocument/2006/relationships/tags" Target="../tags/tag220.xml"/><Relationship Id="rId11" Type="http://schemas.openxmlformats.org/officeDocument/2006/relationships/tags" Target="../tags/tag225.xml"/><Relationship Id="rId5" Type="http://schemas.openxmlformats.org/officeDocument/2006/relationships/tags" Target="../tags/tag219.xml"/><Relationship Id="rId15" Type="http://schemas.openxmlformats.org/officeDocument/2006/relationships/tags" Target="../tags/tag229.xml"/><Relationship Id="rId10" Type="http://schemas.openxmlformats.org/officeDocument/2006/relationships/tags" Target="../tags/tag224.xml"/><Relationship Id="rId19" Type="http://schemas.openxmlformats.org/officeDocument/2006/relationships/image" Target="../media/image4.png"/><Relationship Id="rId4" Type="http://schemas.openxmlformats.org/officeDocument/2006/relationships/tags" Target="../tags/tag218.xml"/><Relationship Id="rId9" Type="http://schemas.openxmlformats.org/officeDocument/2006/relationships/tags" Target="../tags/tag223.xml"/><Relationship Id="rId14" Type="http://schemas.openxmlformats.org/officeDocument/2006/relationships/tags" Target="../tags/tag22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3.xml"/><Relationship Id="rId1" Type="http://schemas.openxmlformats.org/officeDocument/2006/relationships/tags" Target="../tags/tag232.xml"/><Relationship Id="rId4" Type="http://schemas.openxmlformats.org/officeDocument/2006/relationships/image" Target="../media/image6.png"/></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5.xml"/><Relationship Id="rId1" Type="http://schemas.openxmlformats.org/officeDocument/2006/relationships/tags" Target="../tags/tag234.xml"/><Relationship Id="rId4" Type="http://schemas.openxmlformats.org/officeDocument/2006/relationships/image" Target="../media/image7.png"/></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17.emf"/><Relationship Id="rId5" Type="http://schemas.openxmlformats.org/officeDocument/2006/relationships/oleObject" Target="../embeddings/oleObject32.bin"/><Relationship Id="rId4" Type="http://schemas.openxmlformats.org/officeDocument/2006/relationships/image" Target="../media/image4.pn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slideMaster" Target="../slideMasters/slideMaster12.xml"/><Relationship Id="rId3" Type="http://schemas.openxmlformats.org/officeDocument/2006/relationships/tags" Target="../tags/tag242.xml"/><Relationship Id="rId21" Type="http://schemas.openxmlformats.org/officeDocument/2006/relationships/image" Target="../media/image17.emf"/><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tags" Target="../tags/tag256.xml"/><Relationship Id="rId2" Type="http://schemas.openxmlformats.org/officeDocument/2006/relationships/tags" Target="../tags/tag241.xml"/><Relationship Id="rId16" Type="http://schemas.openxmlformats.org/officeDocument/2006/relationships/tags" Target="../tags/tag255.xml"/><Relationship Id="rId20" Type="http://schemas.openxmlformats.org/officeDocument/2006/relationships/oleObject" Target="../embeddings/oleObject34.bin"/><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tags" Target="../tags/tag254.xml"/><Relationship Id="rId10" Type="http://schemas.openxmlformats.org/officeDocument/2006/relationships/tags" Target="../tags/tag249.xml"/><Relationship Id="rId19" Type="http://schemas.openxmlformats.org/officeDocument/2006/relationships/image" Target="../media/image4.png"/><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tags" Target="../tags/tag25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58.xml"/><Relationship Id="rId1" Type="http://schemas.openxmlformats.org/officeDocument/2006/relationships/tags" Target="../tags/tag257.xml"/><Relationship Id="rId4" Type="http://schemas.openxmlformats.org/officeDocument/2006/relationships/image" Target="../media/image6.pn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0.xml"/><Relationship Id="rId1" Type="http://schemas.openxmlformats.org/officeDocument/2006/relationships/tags" Target="../tags/tag259.xml"/><Relationship Id="rId4" Type="http://schemas.openxmlformats.org/officeDocument/2006/relationships/image" Target="../media/image7.png"/></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7.emf"/><Relationship Id="rId5" Type="http://schemas.openxmlformats.org/officeDocument/2006/relationships/oleObject" Target="../embeddings/oleObject35.bin"/><Relationship Id="rId4" Type="http://schemas.openxmlformats.org/officeDocument/2006/relationships/image" Target="../media/image4.png"/></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tags" Target="../tags/tag276.xml"/><Relationship Id="rId18" Type="http://schemas.openxmlformats.org/officeDocument/2006/relationships/image" Target="../media/image4.png"/><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tags" Target="../tags/tag275.xml"/><Relationship Id="rId17" Type="http://schemas.openxmlformats.org/officeDocument/2006/relationships/slideMaster" Target="../slideMasters/slideMaster13.xml"/><Relationship Id="rId2" Type="http://schemas.openxmlformats.org/officeDocument/2006/relationships/tags" Target="../tags/tag265.xml"/><Relationship Id="rId16" Type="http://schemas.openxmlformats.org/officeDocument/2006/relationships/tags" Target="../tags/tag279.xml"/><Relationship Id="rId1" Type="http://schemas.openxmlformats.org/officeDocument/2006/relationships/tags" Target="../tags/tag264.xml"/><Relationship Id="rId6" Type="http://schemas.openxmlformats.org/officeDocument/2006/relationships/tags" Target="../tags/tag269.xml"/><Relationship Id="rId11" Type="http://schemas.openxmlformats.org/officeDocument/2006/relationships/tags" Target="../tags/tag274.xml"/><Relationship Id="rId5" Type="http://schemas.openxmlformats.org/officeDocument/2006/relationships/tags" Target="../tags/tag268.xml"/><Relationship Id="rId15" Type="http://schemas.openxmlformats.org/officeDocument/2006/relationships/tags" Target="../tags/tag278.xml"/><Relationship Id="rId10" Type="http://schemas.openxmlformats.org/officeDocument/2006/relationships/tags" Target="../tags/tag273.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1.xml"/><Relationship Id="rId1" Type="http://schemas.openxmlformats.org/officeDocument/2006/relationships/tags" Target="../tags/tag280.xml"/><Relationship Id="rId4" Type="http://schemas.openxmlformats.org/officeDocument/2006/relationships/image" Target="../media/image6.pn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83.xml"/><Relationship Id="rId1" Type="http://schemas.openxmlformats.org/officeDocument/2006/relationships/tags" Target="../tags/tag282.xml"/><Relationship Id="rId4" Type="http://schemas.openxmlformats.org/officeDocument/2006/relationships/image" Target="../media/image7.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3.xml"/><Relationship Id="rId1" Type="http://schemas.openxmlformats.org/officeDocument/2006/relationships/tags" Target="../tags/tag284.xml"/><Relationship Id="rId5" Type="http://schemas.openxmlformats.org/officeDocument/2006/relationships/image" Target="../media/image16.emf"/><Relationship Id="rId4" Type="http://schemas.openxmlformats.org/officeDocument/2006/relationships/oleObject" Target="../embeddings/oleObject37.bin"/></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image" Target="../media/image4.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slideMaster" Target="../slideMasters/slideMaster2.xml"/><Relationship Id="rId2" Type="http://schemas.openxmlformats.org/officeDocument/2006/relationships/tags" Target="../tags/tag25.xml"/><Relationship Id="rId16" Type="http://schemas.openxmlformats.org/officeDocument/2006/relationships/tags" Target="../tags/tag39.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image" Target="../media/image4.png"/><Relationship Id="rId3" Type="http://schemas.openxmlformats.org/officeDocument/2006/relationships/tags" Target="../tags/tag289.xml"/><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slideMaster" Target="../slideMasters/slideMaster14.xml"/><Relationship Id="rId2" Type="http://schemas.openxmlformats.org/officeDocument/2006/relationships/tags" Target="../tags/tag288.xml"/><Relationship Id="rId16" Type="http://schemas.openxmlformats.org/officeDocument/2006/relationships/tags" Target="../tags/tag302.xml"/><Relationship Id="rId1" Type="http://schemas.openxmlformats.org/officeDocument/2006/relationships/tags" Target="../tags/tag287.xml"/><Relationship Id="rId6" Type="http://schemas.openxmlformats.org/officeDocument/2006/relationships/tags" Target="../tags/tag292.xml"/><Relationship Id="rId11" Type="http://schemas.openxmlformats.org/officeDocument/2006/relationships/tags" Target="../tags/tag297.xml"/><Relationship Id="rId5" Type="http://schemas.openxmlformats.org/officeDocument/2006/relationships/tags" Target="../tags/tag291.xml"/><Relationship Id="rId15" Type="http://schemas.openxmlformats.org/officeDocument/2006/relationships/tags" Target="../tags/tag301.xml"/><Relationship Id="rId10" Type="http://schemas.openxmlformats.org/officeDocument/2006/relationships/tags" Target="../tags/tag296.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04.xml"/><Relationship Id="rId1" Type="http://schemas.openxmlformats.org/officeDocument/2006/relationships/tags" Target="../tags/tag303.xml"/><Relationship Id="rId4" Type="http://schemas.openxmlformats.org/officeDocument/2006/relationships/image" Target="../media/image6.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06.xml"/><Relationship Id="rId1" Type="http://schemas.openxmlformats.org/officeDocument/2006/relationships/tags" Target="../tags/tag305.xml"/><Relationship Id="rId4" Type="http://schemas.openxmlformats.org/officeDocument/2006/relationships/image" Target="../media/image7.pn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6.png"/></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315.xml"/><Relationship Id="rId13" Type="http://schemas.openxmlformats.org/officeDocument/2006/relationships/tags" Target="../tags/tag320.xml"/><Relationship Id="rId18" Type="http://schemas.openxmlformats.org/officeDocument/2006/relationships/image" Target="../media/image4.png"/><Relationship Id="rId3" Type="http://schemas.openxmlformats.org/officeDocument/2006/relationships/tags" Target="../tags/tag310.xml"/><Relationship Id="rId7" Type="http://schemas.openxmlformats.org/officeDocument/2006/relationships/tags" Target="../tags/tag314.xml"/><Relationship Id="rId12" Type="http://schemas.openxmlformats.org/officeDocument/2006/relationships/tags" Target="../tags/tag319.xml"/><Relationship Id="rId17" Type="http://schemas.openxmlformats.org/officeDocument/2006/relationships/slideMaster" Target="../slideMasters/slideMaster15.xml"/><Relationship Id="rId2" Type="http://schemas.openxmlformats.org/officeDocument/2006/relationships/tags" Target="../tags/tag309.xml"/><Relationship Id="rId16" Type="http://schemas.openxmlformats.org/officeDocument/2006/relationships/tags" Target="../tags/tag323.xml"/><Relationship Id="rId1" Type="http://schemas.openxmlformats.org/officeDocument/2006/relationships/tags" Target="../tags/tag308.xml"/><Relationship Id="rId6" Type="http://schemas.openxmlformats.org/officeDocument/2006/relationships/tags" Target="../tags/tag313.xml"/><Relationship Id="rId11" Type="http://schemas.openxmlformats.org/officeDocument/2006/relationships/tags" Target="../tags/tag318.xml"/><Relationship Id="rId5" Type="http://schemas.openxmlformats.org/officeDocument/2006/relationships/tags" Target="../tags/tag312.xml"/><Relationship Id="rId15" Type="http://schemas.openxmlformats.org/officeDocument/2006/relationships/tags" Target="../tags/tag322.xml"/><Relationship Id="rId10" Type="http://schemas.openxmlformats.org/officeDocument/2006/relationships/tags" Target="../tags/tag317.xml"/><Relationship Id="rId4" Type="http://schemas.openxmlformats.org/officeDocument/2006/relationships/tags" Target="../tags/tag311.xml"/><Relationship Id="rId9" Type="http://schemas.openxmlformats.org/officeDocument/2006/relationships/tags" Target="../tags/tag316.xml"/><Relationship Id="rId14" Type="http://schemas.openxmlformats.org/officeDocument/2006/relationships/tags" Target="../tags/tag32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25.xml"/><Relationship Id="rId1" Type="http://schemas.openxmlformats.org/officeDocument/2006/relationships/tags" Target="../tags/tag324.xml"/><Relationship Id="rId4" Type="http://schemas.openxmlformats.org/officeDocument/2006/relationships/image" Target="../media/image6.png"/></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327.xml"/><Relationship Id="rId1" Type="http://schemas.openxmlformats.org/officeDocument/2006/relationships/tags" Target="../tags/tag326.xml"/><Relationship Id="rId4" Type="http://schemas.openxmlformats.org/officeDocument/2006/relationships/image" Target="../media/image7.png"/></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5.xml"/><Relationship Id="rId1" Type="http://schemas.openxmlformats.org/officeDocument/2006/relationships/tags" Target="../tags/tag328.xml"/><Relationship Id="rId5" Type="http://schemas.openxmlformats.org/officeDocument/2006/relationships/image" Target="../media/image16.emf"/><Relationship Id="rId4" Type="http://schemas.openxmlformats.org/officeDocument/2006/relationships/oleObject" Target="../embeddings/oleObject40.bin"/></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image" Target="../media/image7.pn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tags" Target="../tags/tag342.xml"/><Relationship Id="rId18" Type="http://schemas.openxmlformats.org/officeDocument/2006/relationships/image" Target="../media/image4.png"/><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slideMaster" Target="../slideMasters/slideMaster16.xml"/><Relationship Id="rId2" Type="http://schemas.openxmlformats.org/officeDocument/2006/relationships/tags" Target="../tags/tag331.xml"/><Relationship Id="rId16" Type="http://schemas.openxmlformats.org/officeDocument/2006/relationships/tags" Target="../tags/tag345.xml"/><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tags" Target="../tags/tag340.xml"/><Relationship Id="rId5" Type="http://schemas.openxmlformats.org/officeDocument/2006/relationships/tags" Target="../tags/tag334.xml"/><Relationship Id="rId15" Type="http://schemas.openxmlformats.org/officeDocument/2006/relationships/tags" Target="../tags/tag344.xml"/><Relationship Id="rId10" Type="http://schemas.openxmlformats.org/officeDocument/2006/relationships/tags" Target="../tags/tag339.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tags" Target="../tags/tag34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image" Target="../media/image6.png"/></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49.xml"/><Relationship Id="rId1" Type="http://schemas.openxmlformats.org/officeDocument/2006/relationships/tags" Target="../tags/tag348.xml"/><Relationship Id="rId4" Type="http://schemas.openxmlformats.org/officeDocument/2006/relationships/image" Target="../media/image7.png"/></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7.xml"/><Relationship Id="rId1" Type="http://schemas.openxmlformats.org/officeDocument/2006/relationships/tags" Target="../tags/tag352.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3.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7.xml"/><Relationship Id="rId1" Type="http://schemas.openxmlformats.org/officeDocument/2006/relationships/tags" Target="../tags/tag353.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4.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Master" Target="../slideMasters/slideMaster1.xml"/><Relationship Id="rId2" Type="http://schemas.openxmlformats.org/officeDocument/2006/relationships/tags" Target="../tags/tag4.xml"/><Relationship Id="rId16" Type="http://schemas.openxmlformats.org/officeDocument/2006/relationships/tags" Target="../tags/tag1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tags" Target="../tags/tag366.xml"/><Relationship Id="rId18" Type="http://schemas.openxmlformats.org/officeDocument/2006/relationships/slideMaster" Target="../slideMasters/slideMaster17.xml"/><Relationship Id="rId3" Type="http://schemas.openxmlformats.org/officeDocument/2006/relationships/tags" Target="../tags/tag356.xml"/><Relationship Id="rId21" Type="http://schemas.openxmlformats.org/officeDocument/2006/relationships/image" Target="../media/image13.emf"/><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tags" Target="../tags/tag370.xml"/><Relationship Id="rId2" Type="http://schemas.openxmlformats.org/officeDocument/2006/relationships/tags" Target="../tags/tag355.xml"/><Relationship Id="rId16" Type="http://schemas.openxmlformats.org/officeDocument/2006/relationships/tags" Target="../tags/tag369.xml"/><Relationship Id="rId20" Type="http://schemas.openxmlformats.org/officeDocument/2006/relationships/oleObject" Target="../embeddings/oleObject45.bin"/><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tags" Target="../tags/tag364.xml"/><Relationship Id="rId5" Type="http://schemas.openxmlformats.org/officeDocument/2006/relationships/tags" Target="../tags/tag358.xml"/><Relationship Id="rId15" Type="http://schemas.openxmlformats.org/officeDocument/2006/relationships/tags" Target="../tags/tag368.xml"/><Relationship Id="rId10" Type="http://schemas.openxmlformats.org/officeDocument/2006/relationships/tags" Target="../tags/tag363.xml"/><Relationship Id="rId19" Type="http://schemas.openxmlformats.org/officeDocument/2006/relationships/image" Target="../media/image4.png"/><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1.xml"/><Relationship Id="rId5" Type="http://schemas.openxmlformats.org/officeDocument/2006/relationships/image" Target="../media/image13.emf"/><Relationship Id="rId4" Type="http://schemas.openxmlformats.org/officeDocument/2006/relationships/oleObject" Target="../embeddings/oleObject46.bin"/></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7.xml"/><Relationship Id="rId1" Type="http://schemas.openxmlformats.org/officeDocument/2006/relationships/tags" Target="../tags/tag372.xml"/><Relationship Id="rId5" Type="http://schemas.openxmlformats.org/officeDocument/2006/relationships/image" Target="../media/image13.emf"/><Relationship Id="rId4" Type="http://schemas.openxmlformats.org/officeDocument/2006/relationships/oleObject" Target="../embeddings/oleObject47.bin"/></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3.xml"/><Relationship Id="rId5" Type="http://schemas.openxmlformats.org/officeDocument/2006/relationships/image" Target="../media/image13.emf"/><Relationship Id="rId4" Type="http://schemas.openxmlformats.org/officeDocument/2006/relationships/oleObject" Target="../embeddings/oleObject48.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5.xml"/><Relationship Id="rId1" Type="http://schemas.openxmlformats.org/officeDocument/2006/relationships/tags" Target="../tags/tag374.xml"/><Relationship Id="rId4" Type="http://schemas.openxmlformats.org/officeDocument/2006/relationships/image" Target="../media/image6.png"/></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77.xml"/><Relationship Id="rId1" Type="http://schemas.openxmlformats.org/officeDocument/2006/relationships/tags" Target="../tags/tag376.xml"/><Relationship Id="rId4" Type="http://schemas.openxmlformats.org/officeDocument/2006/relationships/image" Target="../media/image7.pn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8.xml"/><Relationship Id="rId5" Type="http://schemas.openxmlformats.org/officeDocument/2006/relationships/image" Target="../media/image13.emf"/><Relationship Id="rId4" Type="http://schemas.openxmlformats.org/officeDocument/2006/relationships/oleObject" Target="../embeddings/oleObject49.bin"/></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79.xml"/><Relationship Id="rId5" Type="http://schemas.openxmlformats.org/officeDocument/2006/relationships/image" Target="../media/image13.emf"/><Relationship Id="rId4" Type="http://schemas.openxmlformats.org/officeDocument/2006/relationships/oleObject" Target="../embeddings/oleObject50.bin"/></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0.xml"/><Relationship Id="rId5" Type="http://schemas.openxmlformats.org/officeDocument/2006/relationships/image" Target="../media/image13.emf"/><Relationship Id="rId4" Type="http://schemas.openxmlformats.org/officeDocument/2006/relationships/oleObject" Target="../embeddings/oleObject51.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1.xml"/><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2.xml"/><Relationship Id="rId5" Type="http://schemas.openxmlformats.org/officeDocument/2006/relationships/image" Target="../media/image13.emf"/><Relationship Id="rId4" Type="http://schemas.openxmlformats.org/officeDocument/2006/relationships/oleObject" Target="../embeddings/oleObject53.bin"/></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7.xml"/><Relationship Id="rId1" Type="http://schemas.openxmlformats.org/officeDocument/2006/relationships/tags" Target="../tags/tag383.xml"/><Relationship Id="rId5" Type="http://schemas.openxmlformats.org/officeDocument/2006/relationships/image" Target="../media/image13.emf"/><Relationship Id="rId4" Type="http://schemas.openxmlformats.org/officeDocument/2006/relationships/oleObject" Target="../embeddings/oleObject54.bin"/></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4.xml"/><Relationship Id="rId5" Type="http://schemas.openxmlformats.org/officeDocument/2006/relationships/image" Target="../media/image13.emf"/><Relationship Id="rId4" Type="http://schemas.openxmlformats.org/officeDocument/2006/relationships/oleObject" Target="../embeddings/oleObject55.bin"/></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5.xml"/><Relationship Id="rId5" Type="http://schemas.openxmlformats.org/officeDocument/2006/relationships/image" Target="../media/image13.emf"/><Relationship Id="rId4" Type="http://schemas.openxmlformats.org/officeDocument/2006/relationships/oleObject" Target="../embeddings/oleObject56.bin"/></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7.xml"/><Relationship Id="rId1" Type="http://schemas.openxmlformats.org/officeDocument/2006/relationships/tags" Target="../tags/tag386.xml"/><Relationship Id="rId5" Type="http://schemas.openxmlformats.org/officeDocument/2006/relationships/image" Target="../media/image13.emf"/><Relationship Id="rId4" Type="http://schemas.openxmlformats.org/officeDocument/2006/relationships/oleObject" Target="../embeddings/oleObject57.bin"/></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8" Type="http://schemas.openxmlformats.org/officeDocument/2006/relationships/tags" Target="../tags/tag395.xml"/><Relationship Id="rId13" Type="http://schemas.openxmlformats.org/officeDocument/2006/relationships/tags" Target="../tags/tag400.xml"/><Relationship Id="rId18" Type="http://schemas.openxmlformats.org/officeDocument/2006/relationships/image" Target="../media/image4.png"/><Relationship Id="rId3" Type="http://schemas.openxmlformats.org/officeDocument/2006/relationships/tags" Target="../tags/tag390.xml"/><Relationship Id="rId7" Type="http://schemas.openxmlformats.org/officeDocument/2006/relationships/tags" Target="../tags/tag394.xml"/><Relationship Id="rId12" Type="http://schemas.openxmlformats.org/officeDocument/2006/relationships/tags" Target="../tags/tag399.xml"/><Relationship Id="rId17" Type="http://schemas.openxmlformats.org/officeDocument/2006/relationships/slideMaster" Target="../slideMasters/slideMaster18.xml"/><Relationship Id="rId2" Type="http://schemas.openxmlformats.org/officeDocument/2006/relationships/tags" Target="../tags/tag389.xml"/><Relationship Id="rId16" Type="http://schemas.openxmlformats.org/officeDocument/2006/relationships/tags" Target="../tags/tag403.xml"/><Relationship Id="rId1" Type="http://schemas.openxmlformats.org/officeDocument/2006/relationships/tags" Target="../tags/tag388.xml"/><Relationship Id="rId6" Type="http://schemas.openxmlformats.org/officeDocument/2006/relationships/tags" Target="../tags/tag393.xml"/><Relationship Id="rId11" Type="http://schemas.openxmlformats.org/officeDocument/2006/relationships/tags" Target="../tags/tag398.xml"/><Relationship Id="rId5" Type="http://schemas.openxmlformats.org/officeDocument/2006/relationships/tags" Target="../tags/tag392.xml"/><Relationship Id="rId15" Type="http://schemas.openxmlformats.org/officeDocument/2006/relationships/tags" Target="../tags/tag402.xml"/><Relationship Id="rId10" Type="http://schemas.openxmlformats.org/officeDocument/2006/relationships/tags" Target="../tags/tag397.xml"/><Relationship Id="rId4" Type="http://schemas.openxmlformats.org/officeDocument/2006/relationships/tags" Target="../tags/tag391.xml"/><Relationship Id="rId9" Type="http://schemas.openxmlformats.org/officeDocument/2006/relationships/tags" Target="../tags/tag396.xml"/><Relationship Id="rId14" Type="http://schemas.openxmlformats.org/officeDocument/2006/relationships/tags" Target="../tags/tag40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05.xml"/><Relationship Id="rId1" Type="http://schemas.openxmlformats.org/officeDocument/2006/relationships/tags" Target="../tags/tag404.xml"/><Relationship Id="rId4" Type="http://schemas.openxmlformats.org/officeDocument/2006/relationships/image" Target="../media/image6.png"/></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07.xml"/><Relationship Id="rId1" Type="http://schemas.openxmlformats.org/officeDocument/2006/relationships/tags" Target="../tags/tag406.xml"/><Relationship Id="rId4" Type="http://schemas.openxmlformats.org/officeDocument/2006/relationships/image" Target="../media/image7.png"/></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tags" Target="../tags/tag421.xml"/><Relationship Id="rId3" Type="http://schemas.openxmlformats.org/officeDocument/2006/relationships/tags" Target="../tags/tag411.xml"/><Relationship Id="rId7" Type="http://schemas.openxmlformats.org/officeDocument/2006/relationships/tags" Target="../tags/tag415.xml"/><Relationship Id="rId12" Type="http://schemas.openxmlformats.org/officeDocument/2006/relationships/tags" Target="../tags/tag420.xml"/><Relationship Id="rId2" Type="http://schemas.openxmlformats.org/officeDocument/2006/relationships/tags" Target="../tags/tag410.xml"/><Relationship Id="rId16" Type="http://schemas.openxmlformats.org/officeDocument/2006/relationships/image" Target="../media/image4.png"/><Relationship Id="rId1" Type="http://schemas.openxmlformats.org/officeDocument/2006/relationships/tags" Target="../tags/tag409.xml"/><Relationship Id="rId6" Type="http://schemas.openxmlformats.org/officeDocument/2006/relationships/tags" Target="../tags/tag414.xml"/><Relationship Id="rId11" Type="http://schemas.openxmlformats.org/officeDocument/2006/relationships/tags" Target="../tags/tag419.xml"/><Relationship Id="rId5" Type="http://schemas.openxmlformats.org/officeDocument/2006/relationships/tags" Target="../tags/tag413.xml"/><Relationship Id="rId15" Type="http://schemas.openxmlformats.org/officeDocument/2006/relationships/slideMaster" Target="../slideMasters/slideMaster19.xml"/><Relationship Id="rId10" Type="http://schemas.openxmlformats.org/officeDocument/2006/relationships/tags" Target="../tags/tag418.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tags" Target="../tags/tag42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24.xml"/><Relationship Id="rId1" Type="http://schemas.openxmlformats.org/officeDocument/2006/relationships/tags" Target="../tags/tag423.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26.xml"/><Relationship Id="rId1" Type="http://schemas.openxmlformats.org/officeDocument/2006/relationships/tags" Target="../tags/tag425.xml"/><Relationship Id="rId4" Type="http://schemas.openxmlformats.org/officeDocument/2006/relationships/image" Target="../media/image7.pn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image" Target="../media/image4.pn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slideMaster" Target="../slideMasters/slideMaster3.xml"/><Relationship Id="rId2" Type="http://schemas.openxmlformats.org/officeDocument/2006/relationships/tags" Target="../tags/tag46.xml"/><Relationship Id="rId16" Type="http://schemas.openxmlformats.org/officeDocument/2006/relationships/tags" Target="../tags/tag60.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image" Target="../media/image4.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slideMaster" Target="../slideMasters/slideMaster4.xml"/><Relationship Id="rId2" Type="http://schemas.openxmlformats.org/officeDocument/2006/relationships/tags" Target="../tags/tag67.xml"/><Relationship Id="rId16" Type="http://schemas.openxmlformats.org/officeDocument/2006/relationships/tags" Target="../tags/tag81.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7.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image" Target="../media/image7.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88.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89.xml"/><Relationship Id="rId6" Type="http://schemas.openxmlformats.org/officeDocument/2006/relationships/image" Target="../media/image11.png"/><Relationship Id="rId5" Type="http://schemas.openxmlformats.org/officeDocument/2006/relationships/image" Target="../media/image2.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slideMaster" Target="../slideMasters/slideMaster5.xml"/><Relationship Id="rId3" Type="http://schemas.openxmlformats.org/officeDocument/2006/relationships/tags" Target="../tags/tag92.xml"/><Relationship Id="rId21" Type="http://schemas.openxmlformats.org/officeDocument/2006/relationships/image" Target="../media/image13.emf"/><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oleObject" Target="../embeddings/oleObject8.bin"/><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4.png"/><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07.xml"/><Relationship Id="rId5" Type="http://schemas.openxmlformats.org/officeDocument/2006/relationships/image" Target="../media/image13.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08.xml"/><Relationship Id="rId5" Type="http://schemas.openxmlformats.org/officeDocument/2006/relationships/image" Target="../media/image13.emf"/><Relationship Id="rId4" Type="http://schemas.openxmlformats.org/officeDocument/2006/relationships/oleObject" Target="../embeddings/oleObject1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4" Type="http://schemas.openxmlformats.org/officeDocument/2006/relationships/image" Target="../media/image6.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image" Target="../media/image7.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3.xml"/><Relationship Id="rId5" Type="http://schemas.openxmlformats.org/officeDocument/2006/relationships/image" Target="../media/image13.emf"/><Relationship Id="rId4" Type="http://schemas.openxmlformats.org/officeDocument/2006/relationships/oleObject" Target="../embeddings/oleObject11.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4.xml"/><Relationship Id="rId5" Type="http://schemas.openxmlformats.org/officeDocument/2006/relationships/image" Target="../media/image13.emf"/><Relationship Id="rId4" Type="http://schemas.openxmlformats.org/officeDocument/2006/relationships/oleObject" Target="../embeddings/oleObject12.bin"/></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5.x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6.xml"/><Relationship Id="rId5" Type="http://schemas.openxmlformats.org/officeDocument/2006/relationships/image" Target="../media/image13.emf"/><Relationship Id="rId4" Type="http://schemas.openxmlformats.org/officeDocument/2006/relationships/oleObject" Target="../embeddings/oleObject14.bin"/></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7.xml"/><Relationship Id="rId5" Type="http://schemas.openxmlformats.org/officeDocument/2006/relationships/image" Target="../media/image13.emf"/><Relationship Id="rId4" Type="http://schemas.openxmlformats.org/officeDocument/2006/relationships/oleObject" Target="../embeddings/oleObject1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13.emf"/><Relationship Id="rId4" Type="http://schemas.openxmlformats.org/officeDocument/2006/relationships/oleObject" Target="../embeddings/oleObject16.bin"/></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13.emf"/><Relationship Id="rId4" Type="http://schemas.openxmlformats.org/officeDocument/2006/relationships/oleObject" Target="../embeddings/oleObject17.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13.emf"/><Relationship Id="rId4" Type="http://schemas.openxmlformats.org/officeDocument/2006/relationships/oleObject" Target="../embeddings/oleObject18.bin"/></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13.emf"/><Relationship Id="rId4" Type="http://schemas.openxmlformats.org/officeDocument/2006/relationships/oleObject" Target="../embeddings/oleObject20.bin"/></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96102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3307178510"/>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1">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A550636E-92B0-43EA-A5D3-08D84DAFB1D8}"/>
              </a:ext>
            </a:extLst>
          </p:cNvPr>
          <p:cNvSpPr/>
          <p:nvPr userDrawn="1"/>
        </p:nvSpPr>
        <p:spPr>
          <a:xfrm flipH="1">
            <a:off x="4075938" y="61245"/>
            <a:ext cx="5068062" cy="5082255"/>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18" name="Freeform 17">
            <a:extLst>
              <a:ext uri="{FF2B5EF4-FFF2-40B4-BE49-F238E27FC236}">
                <a16:creationId xmlns:a16="http://schemas.microsoft.com/office/drawing/2014/main" id="{B1CA315E-C00D-9C45-8C4F-7DF2DF9A52E0}"/>
              </a:ext>
            </a:extLst>
          </p:cNvPr>
          <p:cNvSpPr>
            <a:spLocks noGrp="1"/>
          </p:cNvSpPr>
          <p:nvPr>
            <p:ph type="pic" sz="quarter" idx="13"/>
          </p:nvPr>
        </p:nvSpPr>
        <p:spPr>
          <a:xfrm>
            <a:off x="4911978" y="1185058"/>
            <a:ext cx="2829902" cy="2886539"/>
          </a:xfrm>
          <a:custGeom>
            <a:avLst/>
            <a:gdLst>
              <a:gd name="connsiteX0" fmla="*/ 2364981 w 3773203"/>
              <a:gd name="connsiteY0" fmla="*/ 1392 h 3848719"/>
              <a:gd name="connsiteX1" fmla="*/ 3303440 w 3773203"/>
              <a:gd name="connsiteY1" fmla="*/ 371916 h 3848719"/>
              <a:gd name="connsiteX2" fmla="*/ 3132328 w 3773203"/>
              <a:gd name="connsiteY2" fmla="*/ 3061389 h 3848719"/>
              <a:gd name="connsiteX3" fmla="*/ 469764 w 3773203"/>
              <a:gd name="connsiteY3" fmla="*/ 3476862 h 3848719"/>
              <a:gd name="connsiteX4" fmla="*/ 640876 w 3773203"/>
              <a:gd name="connsiteY4" fmla="*/ 787389 h 3848719"/>
              <a:gd name="connsiteX5" fmla="*/ 2364981 w 3773203"/>
              <a:gd name="connsiteY5" fmla="*/ 1392 h 384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203" h="3848719">
                <a:moveTo>
                  <a:pt x="2364981" y="1392"/>
                </a:moveTo>
                <a:cubicBezTo>
                  <a:pt x="2716573" y="15465"/>
                  <a:pt x="3045457" y="136471"/>
                  <a:pt x="3303440" y="371916"/>
                </a:cubicBezTo>
                <a:cubicBezTo>
                  <a:pt x="3991396" y="999769"/>
                  <a:pt x="3914805" y="2203996"/>
                  <a:pt x="3132328" y="3061389"/>
                </a:cubicBezTo>
                <a:cubicBezTo>
                  <a:pt x="2349852" y="3918580"/>
                  <a:pt x="1157720" y="4104716"/>
                  <a:pt x="469764" y="3476862"/>
                </a:cubicBezTo>
                <a:cubicBezTo>
                  <a:pt x="-218192" y="2849009"/>
                  <a:pt x="-141601" y="1644783"/>
                  <a:pt x="640876" y="787389"/>
                </a:cubicBezTo>
                <a:cubicBezTo>
                  <a:pt x="1129924" y="251518"/>
                  <a:pt x="1778993" y="-22063"/>
                  <a:pt x="2364981" y="1392"/>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8" name="Title 1">
            <a:extLst>
              <a:ext uri="{FF2B5EF4-FFF2-40B4-BE49-F238E27FC236}">
                <a16:creationId xmlns:a16="http://schemas.microsoft.com/office/drawing/2014/main" id="{C7E228BF-1CA5-4856-ADE1-3CF4E8475976}"/>
              </a:ext>
            </a:extLst>
          </p:cNvPr>
          <p:cNvSpPr>
            <a:spLocks noGrp="1"/>
          </p:cNvSpPr>
          <p:nvPr>
            <p:ph type="title"/>
          </p:nvPr>
        </p:nvSpPr>
        <p:spPr>
          <a:xfrm>
            <a:off x="623887" y="1282304"/>
            <a:ext cx="3330596" cy="2139553"/>
          </a:xfrm>
        </p:spPr>
        <p:txBody>
          <a:bodyPr anchor="b"/>
          <a:lstStyle>
            <a:lvl1pPr>
              <a:defRPr sz="4500"/>
            </a:lvl1pPr>
          </a:lstStyle>
          <a:p>
            <a:r>
              <a:rPr lang="en-US"/>
              <a:t>Click to edit Master title style</a:t>
            </a:r>
          </a:p>
        </p:txBody>
      </p:sp>
      <p:sp>
        <p:nvSpPr>
          <p:cNvPr id="9" name="Text Placeholder 2">
            <a:extLst>
              <a:ext uri="{FF2B5EF4-FFF2-40B4-BE49-F238E27FC236}">
                <a16:creationId xmlns:a16="http://schemas.microsoft.com/office/drawing/2014/main" id="{A75560DB-B208-41C1-AC26-ACACF8AE7CCD}"/>
              </a:ext>
            </a:extLst>
          </p:cNvPr>
          <p:cNvSpPr>
            <a:spLocks noGrp="1"/>
          </p:cNvSpPr>
          <p:nvPr>
            <p:ph type="body" idx="1"/>
          </p:nvPr>
        </p:nvSpPr>
        <p:spPr>
          <a:xfrm>
            <a:off x="623887" y="3442098"/>
            <a:ext cx="3330596"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78CD13F7-FE5E-4564-955B-78635E1D6BD1}"/>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DFEC6B85-2D6C-4E54-AFB1-FC9C8C5BCCCD}"/>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C0A08B1B-1C08-468B-84FB-AF1608C8E4FD}"/>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Tree>
    <p:extLst>
      <p:ext uri="{BB962C8B-B14F-4D97-AF65-F5344CB8AC3E}">
        <p14:creationId xmlns:p14="http://schemas.microsoft.com/office/powerpoint/2010/main" val="126232135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2">
    <p:spTree>
      <p:nvGrpSpPr>
        <p:cNvPr id="1" name=""/>
        <p:cNvGrpSpPr/>
        <p:nvPr/>
      </p:nvGrpSpPr>
      <p:grpSpPr>
        <a:xfrm>
          <a:off x="0" y="0"/>
          <a:ext cx="0" cy="0"/>
          <a:chOff x="0" y="0"/>
          <a:chExt cx="0" cy="0"/>
        </a:xfrm>
      </p:grpSpPr>
      <p:sp>
        <p:nvSpPr>
          <p:cNvPr id="18" name="Freeform 17">
            <a:extLst>
              <a:ext uri="{FF2B5EF4-FFF2-40B4-BE49-F238E27FC236}">
                <a16:creationId xmlns:a16="http://schemas.microsoft.com/office/drawing/2014/main" id="{CFD24235-9E18-524F-8D07-A6E1BFC9933D}"/>
              </a:ext>
            </a:extLst>
          </p:cNvPr>
          <p:cNvSpPr>
            <a:spLocks noGrp="1"/>
          </p:cNvSpPr>
          <p:nvPr>
            <p:ph type="pic" sz="quarter" idx="13"/>
          </p:nvPr>
        </p:nvSpPr>
        <p:spPr>
          <a:xfrm>
            <a:off x="1723967" y="0"/>
            <a:ext cx="4767451" cy="4396219"/>
          </a:xfrm>
          <a:custGeom>
            <a:avLst/>
            <a:gdLst>
              <a:gd name="connsiteX0" fmla="*/ 1902704 w 6356601"/>
              <a:gd name="connsiteY0" fmla="*/ 0 h 5861625"/>
              <a:gd name="connsiteX1" fmla="*/ 5561860 w 6356601"/>
              <a:gd name="connsiteY1" fmla="*/ 0 h 5861625"/>
              <a:gd name="connsiteX2" fmla="*/ 5565470 w 6356601"/>
              <a:gd name="connsiteY2" fmla="*/ 3786 h 5861625"/>
              <a:gd name="connsiteX3" fmla="*/ 5277203 w 6356601"/>
              <a:gd name="connsiteY3" fmla="*/ 4535317 h 5861625"/>
              <a:gd name="connsiteX4" fmla="*/ 791662 w 6356601"/>
              <a:gd name="connsiteY4" fmla="*/ 5235119 h 5861625"/>
              <a:gd name="connsiteX5" fmla="*/ 1079930 w 6356601"/>
              <a:gd name="connsiteY5" fmla="*/ 703589 h 5861625"/>
              <a:gd name="connsiteX6" fmla="*/ 1686562 w 6356601"/>
              <a:gd name="connsiteY6" fmla="*/ 151888 h 586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6601" h="5861625">
                <a:moveTo>
                  <a:pt x="1902704" y="0"/>
                </a:moveTo>
                <a:lnTo>
                  <a:pt x="5561860" y="0"/>
                </a:lnTo>
                <a:lnTo>
                  <a:pt x="5565470" y="3786"/>
                </a:lnTo>
                <a:cubicBezTo>
                  <a:pt x="6723792" y="1061648"/>
                  <a:pt x="6595418" y="3089970"/>
                  <a:pt x="5277203" y="4535317"/>
                </a:cubicBezTo>
                <a:cubicBezTo>
                  <a:pt x="3958989" y="5979206"/>
                  <a:pt x="1950969" y="6292981"/>
                  <a:pt x="791662" y="5235119"/>
                </a:cubicBezTo>
                <a:cubicBezTo>
                  <a:pt x="-367972" y="4177257"/>
                  <a:pt x="-238285" y="2148936"/>
                  <a:pt x="1079930" y="703589"/>
                </a:cubicBezTo>
                <a:cubicBezTo>
                  <a:pt x="1269536" y="496008"/>
                  <a:pt x="1473362" y="311862"/>
                  <a:pt x="1686562" y="151888"/>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8" name="Title 1">
            <a:extLst>
              <a:ext uri="{FF2B5EF4-FFF2-40B4-BE49-F238E27FC236}">
                <a16:creationId xmlns:a16="http://schemas.microsoft.com/office/drawing/2014/main" id="{74985E82-8BBB-4140-ADE7-3211B76C0426}"/>
              </a:ext>
            </a:extLst>
          </p:cNvPr>
          <p:cNvSpPr>
            <a:spLocks noGrp="1"/>
          </p:cNvSpPr>
          <p:nvPr>
            <p:ph type="title"/>
          </p:nvPr>
        </p:nvSpPr>
        <p:spPr>
          <a:xfrm>
            <a:off x="6407944" y="1897083"/>
            <a:ext cx="2102643" cy="1939730"/>
          </a:xfrm>
        </p:spPr>
        <p:txBody>
          <a:bodyPr anchor="b">
            <a:normAutofit/>
          </a:bodyPr>
          <a:lstStyle>
            <a:lvl1pPr algn="r">
              <a:defRPr sz="3600"/>
            </a:lvl1pPr>
          </a:lstStyle>
          <a:p>
            <a:r>
              <a:rPr lang="en-US"/>
              <a:t>Click to edit Master title style</a:t>
            </a:r>
          </a:p>
        </p:txBody>
      </p:sp>
      <p:sp>
        <p:nvSpPr>
          <p:cNvPr id="9" name="Text Placeholder 2">
            <a:extLst>
              <a:ext uri="{FF2B5EF4-FFF2-40B4-BE49-F238E27FC236}">
                <a16:creationId xmlns:a16="http://schemas.microsoft.com/office/drawing/2014/main" id="{BE5281E8-502B-4754-B5F5-7C62E11011CF}"/>
              </a:ext>
            </a:extLst>
          </p:cNvPr>
          <p:cNvSpPr>
            <a:spLocks noGrp="1"/>
          </p:cNvSpPr>
          <p:nvPr>
            <p:ph type="body" idx="1"/>
          </p:nvPr>
        </p:nvSpPr>
        <p:spPr>
          <a:xfrm>
            <a:off x="5023263" y="4007922"/>
            <a:ext cx="3487325" cy="559316"/>
          </a:xfrm>
        </p:spPr>
        <p:txBody>
          <a:bodyPr/>
          <a:lstStyle>
            <a:lvl1pPr marL="0" indent="0" algn="r">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A67E5779-2729-4DED-A8C2-41F4FEE4767B}"/>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FBD21987-FA22-47F7-B702-8D9638C10C5C}"/>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A03F40A7-0F3F-41D6-9058-1BE8DB2708C0}"/>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5" name="Shape">
            <a:extLst>
              <a:ext uri="{FF2B5EF4-FFF2-40B4-BE49-F238E27FC236}">
                <a16:creationId xmlns:a16="http://schemas.microsoft.com/office/drawing/2014/main" id="{987F5126-7555-D94F-9E01-863C4C7EE082}"/>
              </a:ext>
            </a:extLst>
          </p:cNvPr>
          <p:cNvSpPr/>
          <p:nvPr userDrawn="1"/>
        </p:nvSpPr>
        <p:spPr>
          <a:xfrm>
            <a:off x="0" y="1"/>
            <a:ext cx="8295763" cy="5140640"/>
          </a:xfrm>
          <a:custGeom>
            <a:avLst/>
            <a:gdLst/>
            <a:ahLst/>
            <a:cxnLst>
              <a:cxn ang="0">
                <a:pos x="wd2" y="hd2"/>
              </a:cxn>
              <a:cxn ang="5400000">
                <a:pos x="wd2" y="hd2"/>
              </a:cxn>
              <a:cxn ang="10800000">
                <a:pos x="wd2" y="hd2"/>
              </a:cxn>
              <a:cxn ang="16200000">
                <a:pos x="wd2" y="hd2"/>
              </a:cxn>
            </a:cxnLst>
            <a:rect l="0" t="0" r="r" b="b"/>
            <a:pathLst>
              <a:path w="21537" h="21600" extrusionOk="0">
                <a:moveTo>
                  <a:pt x="17673" y="4687"/>
                </a:moveTo>
                <a:cubicBezTo>
                  <a:pt x="17742" y="4671"/>
                  <a:pt x="17809" y="4655"/>
                  <a:pt x="17878" y="4639"/>
                </a:cubicBezTo>
                <a:cubicBezTo>
                  <a:pt x="17757" y="2958"/>
                  <a:pt x="17369" y="1369"/>
                  <a:pt x="16716" y="60"/>
                </a:cubicBezTo>
                <a:cubicBezTo>
                  <a:pt x="16706" y="40"/>
                  <a:pt x="16696" y="24"/>
                  <a:pt x="16687" y="4"/>
                </a:cubicBezTo>
                <a:lnTo>
                  <a:pt x="16771" y="4"/>
                </a:lnTo>
                <a:cubicBezTo>
                  <a:pt x="17418" y="1325"/>
                  <a:pt x="17807" y="2918"/>
                  <a:pt x="17923" y="4603"/>
                </a:cubicBezTo>
                <a:cubicBezTo>
                  <a:pt x="17985" y="4507"/>
                  <a:pt x="18049" y="4410"/>
                  <a:pt x="18111" y="4314"/>
                </a:cubicBezTo>
                <a:cubicBezTo>
                  <a:pt x="18034" y="4559"/>
                  <a:pt x="17970" y="4903"/>
                  <a:pt x="17935" y="5159"/>
                </a:cubicBezTo>
                <a:cubicBezTo>
                  <a:pt x="17873" y="4983"/>
                  <a:pt x="17772" y="4783"/>
                  <a:pt x="17673" y="4687"/>
                </a:cubicBezTo>
                <a:close/>
                <a:moveTo>
                  <a:pt x="18047" y="4"/>
                </a:moveTo>
                <a:cubicBezTo>
                  <a:pt x="18118" y="240"/>
                  <a:pt x="18183" y="476"/>
                  <a:pt x="18244" y="720"/>
                </a:cubicBezTo>
                <a:cubicBezTo>
                  <a:pt x="18170" y="772"/>
                  <a:pt x="18096" y="824"/>
                  <a:pt x="18022" y="876"/>
                </a:cubicBezTo>
                <a:cubicBezTo>
                  <a:pt x="18150" y="921"/>
                  <a:pt x="18296" y="1069"/>
                  <a:pt x="18395" y="1213"/>
                </a:cubicBezTo>
                <a:cubicBezTo>
                  <a:pt x="18393" y="933"/>
                  <a:pt x="18410" y="552"/>
                  <a:pt x="18460" y="260"/>
                </a:cubicBezTo>
                <a:cubicBezTo>
                  <a:pt x="18403" y="392"/>
                  <a:pt x="18348" y="524"/>
                  <a:pt x="18291" y="652"/>
                </a:cubicBezTo>
                <a:cubicBezTo>
                  <a:pt x="18237" y="432"/>
                  <a:pt x="18178" y="212"/>
                  <a:pt x="18116" y="0"/>
                </a:cubicBezTo>
                <a:lnTo>
                  <a:pt x="18047" y="0"/>
                </a:lnTo>
                <a:close/>
                <a:moveTo>
                  <a:pt x="10420" y="20419"/>
                </a:moveTo>
                <a:cubicBezTo>
                  <a:pt x="10297" y="20395"/>
                  <a:pt x="10146" y="20339"/>
                  <a:pt x="10059" y="20255"/>
                </a:cubicBezTo>
                <a:cubicBezTo>
                  <a:pt x="10072" y="20335"/>
                  <a:pt x="10084" y="20411"/>
                  <a:pt x="10096" y="20487"/>
                </a:cubicBezTo>
                <a:cubicBezTo>
                  <a:pt x="8964" y="20820"/>
                  <a:pt x="7807" y="20816"/>
                  <a:pt x="6736" y="20431"/>
                </a:cubicBezTo>
                <a:cubicBezTo>
                  <a:pt x="5547" y="20011"/>
                  <a:pt x="4439" y="19131"/>
                  <a:pt x="3556" y="17818"/>
                </a:cubicBezTo>
                <a:cubicBezTo>
                  <a:pt x="2577" y="16369"/>
                  <a:pt x="1887" y="14412"/>
                  <a:pt x="1625" y="12131"/>
                </a:cubicBezTo>
                <a:cubicBezTo>
                  <a:pt x="1333" y="9605"/>
                  <a:pt x="1558" y="6812"/>
                  <a:pt x="2322" y="4146"/>
                </a:cubicBezTo>
                <a:cubicBezTo>
                  <a:pt x="2735" y="2669"/>
                  <a:pt x="3309" y="1269"/>
                  <a:pt x="4013" y="0"/>
                </a:cubicBezTo>
                <a:lnTo>
                  <a:pt x="3885" y="0"/>
                </a:lnTo>
                <a:cubicBezTo>
                  <a:pt x="3197" y="1253"/>
                  <a:pt x="2638" y="2637"/>
                  <a:pt x="2233" y="4090"/>
                </a:cubicBezTo>
                <a:cubicBezTo>
                  <a:pt x="1464" y="6784"/>
                  <a:pt x="1241" y="9601"/>
                  <a:pt x="1541" y="12151"/>
                </a:cubicBezTo>
                <a:cubicBezTo>
                  <a:pt x="1808" y="14448"/>
                  <a:pt x="2507" y="16421"/>
                  <a:pt x="3497" y="17878"/>
                </a:cubicBezTo>
                <a:cubicBezTo>
                  <a:pt x="4389" y="19199"/>
                  <a:pt x="5504" y="20079"/>
                  <a:pt x="6704" y="20499"/>
                </a:cubicBezTo>
                <a:cubicBezTo>
                  <a:pt x="7784" y="20880"/>
                  <a:pt x="8949" y="20884"/>
                  <a:pt x="10089" y="20547"/>
                </a:cubicBezTo>
                <a:cubicBezTo>
                  <a:pt x="10052" y="20639"/>
                  <a:pt x="10017" y="20732"/>
                  <a:pt x="9980" y="20820"/>
                </a:cubicBezTo>
                <a:cubicBezTo>
                  <a:pt x="10099" y="20680"/>
                  <a:pt x="10279" y="20523"/>
                  <a:pt x="10420" y="20419"/>
                </a:cubicBezTo>
                <a:close/>
                <a:moveTo>
                  <a:pt x="17465" y="4579"/>
                </a:moveTo>
                <a:cubicBezTo>
                  <a:pt x="17275" y="2834"/>
                  <a:pt x="16751" y="1209"/>
                  <a:pt x="15937" y="0"/>
                </a:cubicBezTo>
                <a:lnTo>
                  <a:pt x="15833" y="0"/>
                </a:lnTo>
                <a:cubicBezTo>
                  <a:pt x="16677" y="1201"/>
                  <a:pt x="17223" y="2846"/>
                  <a:pt x="17418" y="4623"/>
                </a:cubicBezTo>
                <a:cubicBezTo>
                  <a:pt x="17606" y="6308"/>
                  <a:pt x="17488" y="8097"/>
                  <a:pt x="17104" y="9829"/>
                </a:cubicBezTo>
                <a:cubicBezTo>
                  <a:pt x="17057" y="9793"/>
                  <a:pt x="17010" y="9757"/>
                  <a:pt x="16961" y="9721"/>
                </a:cubicBezTo>
                <a:cubicBezTo>
                  <a:pt x="17001" y="9878"/>
                  <a:pt x="17013" y="10134"/>
                  <a:pt x="17008" y="10338"/>
                </a:cubicBezTo>
                <a:cubicBezTo>
                  <a:pt x="17095" y="10130"/>
                  <a:pt x="17223" y="9873"/>
                  <a:pt x="17334" y="9713"/>
                </a:cubicBezTo>
                <a:cubicBezTo>
                  <a:pt x="17270" y="9753"/>
                  <a:pt x="17206" y="9793"/>
                  <a:pt x="17142" y="9829"/>
                </a:cubicBezTo>
                <a:cubicBezTo>
                  <a:pt x="17532" y="8084"/>
                  <a:pt x="17653" y="6280"/>
                  <a:pt x="17465" y="4579"/>
                </a:cubicBezTo>
                <a:close/>
                <a:moveTo>
                  <a:pt x="6963" y="901"/>
                </a:moveTo>
                <a:cubicBezTo>
                  <a:pt x="7213" y="576"/>
                  <a:pt x="7475" y="280"/>
                  <a:pt x="7742" y="4"/>
                </a:cubicBezTo>
                <a:lnTo>
                  <a:pt x="7589" y="4"/>
                </a:lnTo>
                <a:cubicBezTo>
                  <a:pt x="7357" y="252"/>
                  <a:pt x="7132" y="516"/>
                  <a:pt x="6912" y="796"/>
                </a:cubicBezTo>
                <a:cubicBezTo>
                  <a:pt x="5445" y="2673"/>
                  <a:pt x="4389" y="5227"/>
                  <a:pt x="3964" y="7836"/>
                </a:cubicBezTo>
                <a:cubicBezTo>
                  <a:pt x="3556" y="10322"/>
                  <a:pt x="3717" y="12751"/>
                  <a:pt x="4345" y="14640"/>
                </a:cubicBezTo>
                <a:cubicBezTo>
                  <a:pt x="4913" y="16369"/>
                  <a:pt x="5870" y="17670"/>
                  <a:pt x="6998" y="18370"/>
                </a:cubicBezTo>
                <a:cubicBezTo>
                  <a:pt x="8019" y="19011"/>
                  <a:pt x="9164" y="19163"/>
                  <a:pt x="10326" y="18874"/>
                </a:cubicBezTo>
                <a:cubicBezTo>
                  <a:pt x="10289" y="18971"/>
                  <a:pt x="10252" y="19067"/>
                  <a:pt x="10215" y="19163"/>
                </a:cubicBezTo>
                <a:cubicBezTo>
                  <a:pt x="10339" y="19015"/>
                  <a:pt x="10524" y="18858"/>
                  <a:pt x="10668" y="18754"/>
                </a:cubicBezTo>
                <a:cubicBezTo>
                  <a:pt x="10542" y="18722"/>
                  <a:pt x="10388" y="18654"/>
                  <a:pt x="10299" y="18558"/>
                </a:cubicBezTo>
                <a:cubicBezTo>
                  <a:pt x="10312" y="18642"/>
                  <a:pt x="10324" y="18726"/>
                  <a:pt x="10336" y="18810"/>
                </a:cubicBezTo>
                <a:cubicBezTo>
                  <a:pt x="9186" y="19095"/>
                  <a:pt x="8049" y="18939"/>
                  <a:pt x="7038" y="18302"/>
                </a:cubicBezTo>
                <a:cubicBezTo>
                  <a:pt x="5922" y="17606"/>
                  <a:pt x="4975" y="16313"/>
                  <a:pt x="4414" y="14596"/>
                </a:cubicBezTo>
                <a:cubicBezTo>
                  <a:pt x="3796" y="12723"/>
                  <a:pt x="3640" y="10322"/>
                  <a:pt x="4046" y="7860"/>
                </a:cubicBezTo>
                <a:cubicBezTo>
                  <a:pt x="4468" y="5279"/>
                  <a:pt x="5514" y="2758"/>
                  <a:pt x="6963" y="901"/>
                </a:cubicBezTo>
                <a:close/>
                <a:moveTo>
                  <a:pt x="18927" y="5543"/>
                </a:moveTo>
                <a:cubicBezTo>
                  <a:pt x="18999" y="5663"/>
                  <a:pt x="19060" y="5887"/>
                  <a:pt x="19093" y="6075"/>
                </a:cubicBezTo>
                <a:cubicBezTo>
                  <a:pt x="19149" y="5835"/>
                  <a:pt x="19241" y="5519"/>
                  <a:pt x="19332" y="5303"/>
                </a:cubicBezTo>
                <a:cubicBezTo>
                  <a:pt x="19271" y="5379"/>
                  <a:pt x="19206" y="5455"/>
                  <a:pt x="19145" y="5531"/>
                </a:cubicBezTo>
                <a:cubicBezTo>
                  <a:pt x="19246" y="3638"/>
                  <a:pt x="19102" y="1745"/>
                  <a:pt x="18692" y="4"/>
                </a:cubicBezTo>
                <a:lnTo>
                  <a:pt x="18630" y="4"/>
                </a:lnTo>
                <a:cubicBezTo>
                  <a:pt x="19053" y="1749"/>
                  <a:pt x="19201" y="3654"/>
                  <a:pt x="19102" y="5555"/>
                </a:cubicBezTo>
                <a:cubicBezTo>
                  <a:pt x="19046" y="5551"/>
                  <a:pt x="18986" y="5547"/>
                  <a:pt x="18927" y="5543"/>
                </a:cubicBezTo>
                <a:close/>
                <a:moveTo>
                  <a:pt x="20895" y="7252"/>
                </a:moveTo>
                <a:cubicBezTo>
                  <a:pt x="20853" y="7232"/>
                  <a:pt x="20809" y="7208"/>
                  <a:pt x="20767" y="7188"/>
                </a:cubicBezTo>
                <a:cubicBezTo>
                  <a:pt x="20804" y="7324"/>
                  <a:pt x="20819" y="7552"/>
                  <a:pt x="20819" y="7736"/>
                </a:cubicBezTo>
                <a:cubicBezTo>
                  <a:pt x="20895" y="7528"/>
                  <a:pt x="21007" y="7264"/>
                  <a:pt x="21103" y="7088"/>
                </a:cubicBezTo>
                <a:cubicBezTo>
                  <a:pt x="21046" y="7140"/>
                  <a:pt x="20989" y="7188"/>
                  <a:pt x="20932" y="7240"/>
                </a:cubicBezTo>
                <a:cubicBezTo>
                  <a:pt x="21382" y="4915"/>
                  <a:pt x="21600" y="2429"/>
                  <a:pt x="21521" y="0"/>
                </a:cubicBezTo>
                <a:lnTo>
                  <a:pt x="21476" y="0"/>
                </a:lnTo>
                <a:cubicBezTo>
                  <a:pt x="21558" y="2433"/>
                  <a:pt x="21345" y="4923"/>
                  <a:pt x="20895" y="7252"/>
                </a:cubicBezTo>
                <a:close/>
                <a:moveTo>
                  <a:pt x="25" y="20812"/>
                </a:moveTo>
                <a:cubicBezTo>
                  <a:pt x="17" y="20804"/>
                  <a:pt x="10" y="20792"/>
                  <a:pt x="0" y="20784"/>
                </a:cubicBezTo>
                <a:lnTo>
                  <a:pt x="0" y="20920"/>
                </a:lnTo>
                <a:cubicBezTo>
                  <a:pt x="210" y="21160"/>
                  <a:pt x="423" y="21384"/>
                  <a:pt x="643" y="21600"/>
                </a:cubicBezTo>
                <a:lnTo>
                  <a:pt x="764" y="21600"/>
                </a:lnTo>
                <a:cubicBezTo>
                  <a:pt x="512" y="21352"/>
                  <a:pt x="265" y="21088"/>
                  <a:pt x="25" y="20812"/>
                </a:cubicBezTo>
                <a:close/>
                <a:moveTo>
                  <a:pt x="19679" y="4"/>
                </a:moveTo>
                <a:cubicBezTo>
                  <a:pt x="19763" y="556"/>
                  <a:pt x="19825" y="1121"/>
                  <a:pt x="19864" y="1689"/>
                </a:cubicBezTo>
                <a:cubicBezTo>
                  <a:pt x="19797" y="1713"/>
                  <a:pt x="19731" y="1737"/>
                  <a:pt x="19664" y="1761"/>
                </a:cubicBezTo>
                <a:cubicBezTo>
                  <a:pt x="19763" y="1849"/>
                  <a:pt x="19862" y="2045"/>
                  <a:pt x="19923" y="2221"/>
                </a:cubicBezTo>
                <a:cubicBezTo>
                  <a:pt x="19956" y="1953"/>
                  <a:pt x="20017" y="1593"/>
                  <a:pt x="20092" y="1333"/>
                </a:cubicBezTo>
                <a:cubicBezTo>
                  <a:pt x="20030" y="1437"/>
                  <a:pt x="19970" y="1545"/>
                  <a:pt x="19909" y="1649"/>
                </a:cubicBezTo>
                <a:cubicBezTo>
                  <a:pt x="19869" y="1097"/>
                  <a:pt x="19810" y="548"/>
                  <a:pt x="19731" y="8"/>
                </a:cubicBezTo>
                <a:lnTo>
                  <a:pt x="19679" y="8"/>
                </a:lnTo>
                <a:close/>
                <a:moveTo>
                  <a:pt x="19172" y="4"/>
                </a:moveTo>
                <a:cubicBezTo>
                  <a:pt x="19243" y="372"/>
                  <a:pt x="19303" y="748"/>
                  <a:pt x="19352" y="1125"/>
                </a:cubicBezTo>
                <a:cubicBezTo>
                  <a:pt x="19283" y="1157"/>
                  <a:pt x="19214" y="1193"/>
                  <a:pt x="19142" y="1225"/>
                </a:cubicBezTo>
                <a:cubicBezTo>
                  <a:pt x="19251" y="1297"/>
                  <a:pt x="19370" y="1481"/>
                  <a:pt x="19444" y="1645"/>
                </a:cubicBezTo>
                <a:cubicBezTo>
                  <a:pt x="19463" y="1369"/>
                  <a:pt x="19510" y="997"/>
                  <a:pt x="19575" y="724"/>
                </a:cubicBezTo>
                <a:cubicBezTo>
                  <a:pt x="19515" y="840"/>
                  <a:pt x="19456" y="957"/>
                  <a:pt x="19397" y="1073"/>
                </a:cubicBezTo>
                <a:cubicBezTo>
                  <a:pt x="19350" y="712"/>
                  <a:pt x="19293" y="356"/>
                  <a:pt x="19229" y="4"/>
                </a:cubicBezTo>
                <a:lnTo>
                  <a:pt x="19172" y="4"/>
                </a:lnTo>
                <a:close/>
                <a:moveTo>
                  <a:pt x="20688" y="3430"/>
                </a:moveTo>
                <a:cubicBezTo>
                  <a:pt x="20631" y="3434"/>
                  <a:pt x="20574" y="3434"/>
                  <a:pt x="20514" y="3438"/>
                </a:cubicBezTo>
                <a:cubicBezTo>
                  <a:pt x="20586" y="3550"/>
                  <a:pt x="20650" y="3770"/>
                  <a:pt x="20683" y="3954"/>
                </a:cubicBezTo>
                <a:cubicBezTo>
                  <a:pt x="20737" y="3706"/>
                  <a:pt x="20824" y="3378"/>
                  <a:pt x="20910" y="3150"/>
                </a:cubicBezTo>
                <a:cubicBezTo>
                  <a:pt x="20848" y="3234"/>
                  <a:pt x="20789" y="3314"/>
                  <a:pt x="20727" y="3398"/>
                </a:cubicBezTo>
                <a:cubicBezTo>
                  <a:pt x="20777" y="2261"/>
                  <a:pt x="20757" y="1125"/>
                  <a:pt x="20665" y="0"/>
                </a:cubicBezTo>
                <a:lnTo>
                  <a:pt x="20616" y="0"/>
                </a:lnTo>
                <a:cubicBezTo>
                  <a:pt x="20715" y="1133"/>
                  <a:pt x="20737" y="2281"/>
                  <a:pt x="20688" y="3430"/>
                </a:cubicBezTo>
                <a:close/>
                <a:moveTo>
                  <a:pt x="0" y="19619"/>
                </a:moveTo>
                <a:cubicBezTo>
                  <a:pt x="544" y="20383"/>
                  <a:pt x="1137" y="21044"/>
                  <a:pt x="1768" y="21592"/>
                </a:cubicBezTo>
                <a:lnTo>
                  <a:pt x="1894" y="21592"/>
                </a:lnTo>
                <a:cubicBezTo>
                  <a:pt x="1217" y="21012"/>
                  <a:pt x="576" y="20299"/>
                  <a:pt x="0" y="19463"/>
                </a:cubicBezTo>
                <a:lnTo>
                  <a:pt x="0" y="19619"/>
                </a:lnTo>
                <a:close/>
                <a:moveTo>
                  <a:pt x="0" y="1409"/>
                </a:moveTo>
                <a:cubicBezTo>
                  <a:pt x="146" y="937"/>
                  <a:pt x="307" y="464"/>
                  <a:pt x="480" y="4"/>
                </a:cubicBezTo>
                <a:lnTo>
                  <a:pt x="349" y="4"/>
                </a:lnTo>
                <a:cubicBezTo>
                  <a:pt x="225" y="336"/>
                  <a:pt x="109" y="668"/>
                  <a:pt x="0" y="1009"/>
                </a:cubicBezTo>
                <a:lnTo>
                  <a:pt x="0" y="1409"/>
                </a:lnTo>
                <a:close/>
                <a:moveTo>
                  <a:pt x="8633" y="21032"/>
                </a:moveTo>
                <a:cubicBezTo>
                  <a:pt x="8635" y="21120"/>
                  <a:pt x="8638" y="21204"/>
                  <a:pt x="8638" y="21292"/>
                </a:cubicBezTo>
                <a:cubicBezTo>
                  <a:pt x="7315" y="21396"/>
                  <a:pt x="5994" y="21044"/>
                  <a:pt x="4815" y="20195"/>
                </a:cubicBezTo>
                <a:cubicBezTo>
                  <a:pt x="3482" y="19243"/>
                  <a:pt x="2354" y="17682"/>
                  <a:pt x="1615" y="15609"/>
                </a:cubicBezTo>
                <a:cubicBezTo>
                  <a:pt x="781" y="13287"/>
                  <a:pt x="460" y="10410"/>
                  <a:pt x="789" y="7324"/>
                </a:cubicBezTo>
                <a:cubicBezTo>
                  <a:pt x="1061" y="4763"/>
                  <a:pt x="1763" y="2237"/>
                  <a:pt x="2841" y="4"/>
                </a:cubicBezTo>
                <a:lnTo>
                  <a:pt x="2713" y="4"/>
                </a:lnTo>
                <a:cubicBezTo>
                  <a:pt x="1652" y="2233"/>
                  <a:pt x="959" y="4747"/>
                  <a:pt x="692" y="7296"/>
                </a:cubicBezTo>
                <a:cubicBezTo>
                  <a:pt x="366" y="10410"/>
                  <a:pt x="692" y="13311"/>
                  <a:pt x="1538" y="15649"/>
                </a:cubicBezTo>
                <a:cubicBezTo>
                  <a:pt x="2287" y="17734"/>
                  <a:pt x="3427" y="19303"/>
                  <a:pt x="4770" y="20259"/>
                </a:cubicBezTo>
                <a:cubicBezTo>
                  <a:pt x="5959" y="21108"/>
                  <a:pt x="7290" y="21460"/>
                  <a:pt x="8620" y="21352"/>
                </a:cubicBezTo>
                <a:cubicBezTo>
                  <a:pt x="8578" y="21432"/>
                  <a:pt x="8536" y="21512"/>
                  <a:pt x="8492" y="21592"/>
                </a:cubicBezTo>
                <a:lnTo>
                  <a:pt x="8509" y="21592"/>
                </a:lnTo>
                <a:cubicBezTo>
                  <a:pt x="8642" y="21476"/>
                  <a:pt x="8823" y="21364"/>
                  <a:pt x="8964" y="21292"/>
                </a:cubicBezTo>
                <a:cubicBezTo>
                  <a:pt x="8848" y="21240"/>
                  <a:pt x="8709" y="21144"/>
                  <a:pt x="8633" y="21032"/>
                </a:cubicBezTo>
                <a:close/>
                <a:moveTo>
                  <a:pt x="2908" y="21464"/>
                </a:moveTo>
                <a:cubicBezTo>
                  <a:pt x="1798" y="20615"/>
                  <a:pt x="796" y="19407"/>
                  <a:pt x="0" y="17902"/>
                </a:cubicBezTo>
                <a:lnTo>
                  <a:pt x="0" y="18090"/>
                </a:lnTo>
                <a:cubicBezTo>
                  <a:pt x="791" y="19535"/>
                  <a:pt x="1775" y="20696"/>
                  <a:pt x="2859" y="21524"/>
                </a:cubicBezTo>
                <a:cubicBezTo>
                  <a:pt x="2888" y="21548"/>
                  <a:pt x="2920" y="21568"/>
                  <a:pt x="2950" y="21592"/>
                </a:cubicBezTo>
                <a:lnTo>
                  <a:pt x="3086" y="21592"/>
                </a:lnTo>
                <a:cubicBezTo>
                  <a:pt x="3027" y="21552"/>
                  <a:pt x="2967" y="21508"/>
                  <a:pt x="2908" y="21464"/>
                </a:cubicBezTo>
                <a:close/>
                <a:moveTo>
                  <a:pt x="10203" y="19687"/>
                </a:moveTo>
                <a:cubicBezTo>
                  <a:pt x="10218" y="19767"/>
                  <a:pt x="10230" y="19843"/>
                  <a:pt x="10242" y="19923"/>
                </a:cubicBezTo>
                <a:cubicBezTo>
                  <a:pt x="9224" y="20227"/>
                  <a:pt x="8187" y="20215"/>
                  <a:pt x="7216" y="19891"/>
                </a:cubicBezTo>
                <a:cubicBezTo>
                  <a:pt x="6150" y="19535"/>
                  <a:pt x="5146" y="18798"/>
                  <a:pt x="4342" y="17670"/>
                </a:cubicBezTo>
                <a:cubicBezTo>
                  <a:pt x="3459" y="16453"/>
                  <a:pt x="2807" y="14792"/>
                  <a:pt x="2502" y="12847"/>
                </a:cubicBezTo>
                <a:cubicBezTo>
                  <a:pt x="2169" y="10718"/>
                  <a:pt x="2248" y="8313"/>
                  <a:pt x="2774" y="5947"/>
                </a:cubicBezTo>
                <a:cubicBezTo>
                  <a:pt x="3259" y="3718"/>
                  <a:pt x="4102" y="1681"/>
                  <a:pt x="5178" y="0"/>
                </a:cubicBezTo>
                <a:lnTo>
                  <a:pt x="5047" y="0"/>
                </a:lnTo>
                <a:cubicBezTo>
                  <a:pt x="3994" y="1677"/>
                  <a:pt x="3165" y="3698"/>
                  <a:pt x="2688" y="5903"/>
                </a:cubicBezTo>
                <a:cubicBezTo>
                  <a:pt x="2159" y="8293"/>
                  <a:pt x="2080" y="10718"/>
                  <a:pt x="2421" y="12867"/>
                </a:cubicBezTo>
                <a:cubicBezTo>
                  <a:pt x="2732" y="14828"/>
                  <a:pt x="3393" y="16501"/>
                  <a:pt x="4285" y="17726"/>
                </a:cubicBezTo>
                <a:cubicBezTo>
                  <a:pt x="5084" y="18842"/>
                  <a:pt x="6091" y="19595"/>
                  <a:pt x="7179" y="19959"/>
                </a:cubicBezTo>
                <a:cubicBezTo>
                  <a:pt x="8173" y="20287"/>
                  <a:pt x="9221" y="20283"/>
                  <a:pt x="10233" y="19983"/>
                </a:cubicBezTo>
                <a:cubicBezTo>
                  <a:pt x="10198" y="20075"/>
                  <a:pt x="10161" y="20171"/>
                  <a:pt x="10126" y="20263"/>
                </a:cubicBezTo>
                <a:cubicBezTo>
                  <a:pt x="10245" y="20115"/>
                  <a:pt x="10425" y="19959"/>
                  <a:pt x="10566" y="19855"/>
                </a:cubicBezTo>
                <a:cubicBezTo>
                  <a:pt x="10445" y="19827"/>
                  <a:pt x="10294" y="19771"/>
                  <a:pt x="10203" y="19687"/>
                </a:cubicBezTo>
                <a:close/>
                <a:moveTo>
                  <a:pt x="947" y="16073"/>
                </a:moveTo>
                <a:cubicBezTo>
                  <a:pt x="509" y="14956"/>
                  <a:pt x="190" y="13708"/>
                  <a:pt x="2" y="12363"/>
                </a:cubicBezTo>
                <a:lnTo>
                  <a:pt x="2" y="12959"/>
                </a:lnTo>
                <a:cubicBezTo>
                  <a:pt x="200" y="14096"/>
                  <a:pt x="492" y="15156"/>
                  <a:pt x="870" y="16117"/>
                </a:cubicBezTo>
                <a:cubicBezTo>
                  <a:pt x="1630" y="18094"/>
                  <a:pt x="2742" y="19595"/>
                  <a:pt x="4008" y="20575"/>
                </a:cubicBezTo>
                <a:cubicBezTo>
                  <a:pt x="4592" y="21024"/>
                  <a:pt x="5208" y="21364"/>
                  <a:pt x="5846" y="21596"/>
                </a:cubicBezTo>
                <a:lnTo>
                  <a:pt x="6066" y="21596"/>
                </a:lnTo>
                <a:cubicBezTo>
                  <a:pt x="5366" y="21368"/>
                  <a:pt x="4688" y="21008"/>
                  <a:pt x="4053" y="20515"/>
                </a:cubicBezTo>
                <a:cubicBezTo>
                  <a:pt x="2799" y="19535"/>
                  <a:pt x="1696" y="18038"/>
                  <a:pt x="947" y="16073"/>
                </a:cubicBezTo>
                <a:close/>
                <a:moveTo>
                  <a:pt x="0" y="6211"/>
                </a:moveTo>
                <a:cubicBezTo>
                  <a:pt x="277" y="4078"/>
                  <a:pt x="831" y="1957"/>
                  <a:pt x="1664" y="4"/>
                </a:cubicBezTo>
                <a:lnTo>
                  <a:pt x="1536" y="4"/>
                </a:lnTo>
                <a:cubicBezTo>
                  <a:pt x="809" y="1733"/>
                  <a:pt x="297" y="3594"/>
                  <a:pt x="2" y="5475"/>
                </a:cubicBezTo>
                <a:lnTo>
                  <a:pt x="2" y="6211"/>
                </a:lnTo>
                <a:close/>
                <a:moveTo>
                  <a:pt x="0" y="15877"/>
                </a:moveTo>
                <a:lnTo>
                  <a:pt x="0" y="16137"/>
                </a:lnTo>
                <a:cubicBezTo>
                  <a:pt x="324" y="16989"/>
                  <a:pt x="707" y="17766"/>
                  <a:pt x="1140" y="18450"/>
                </a:cubicBezTo>
                <a:cubicBezTo>
                  <a:pt x="2015" y="19867"/>
                  <a:pt x="3081" y="20920"/>
                  <a:pt x="4241" y="21592"/>
                </a:cubicBezTo>
                <a:lnTo>
                  <a:pt x="4394" y="21592"/>
                </a:lnTo>
                <a:cubicBezTo>
                  <a:pt x="3200" y="20920"/>
                  <a:pt x="2104" y="19851"/>
                  <a:pt x="1209" y="18394"/>
                </a:cubicBezTo>
                <a:cubicBezTo>
                  <a:pt x="744" y="17654"/>
                  <a:pt x="339" y="16809"/>
                  <a:pt x="0" y="15877"/>
                </a:cubicBezTo>
                <a:close/>
                <a:moveTo>
                  <a:pt x="17085" y="4"/>
                </a:moveTo>
                <a:cubicBezTo>
                  <a:pt x="17231" y="8"/>
                  <a:pt x="17409" y="108"/>
                  <a:pt x="17535" y="224"/>
                </a:cubicBezTo>
                <a:cubicBezTo>
                  <a:pt x="17527" y="156"/>
                  <a:pt x="17520" y="84"/>
                  <a:pt x="17515" y="4"/>
                </a:cubicBezTo>
                <a:lnTo>
                  <a:pt x="17085" y="4"/>
                </a:lnTo>
                <a:cubicBezTo>
                  <a:pt x="17087" y="4"/>
                  <a:pt x="17087" y="4"/>
                  <a:pt x="17085" y="4"/>
                </a:cubicBezTo>
                <a:close/>
                <a:moveTo>
                  <a:pt x="5106" y="2077"/>
                </a:moveTo>
                <a:cubicBezTo>
                  <a:pt x="5504" y="1317"/>
                  <a:pt x="5947" y="624"/>
                  <a:pt x="6422" y="4"/>
                </a:cubicBezTo>
                <a:lnTo>
                  <a:pt x="6283" y="4"/>
                </a:lnTo>
                <a:cubicBezTo>
                  <a:pt x="5833" y="604"/>
                  <a:pt x="5415" y="1269"/>
                  <a:pt x="5035" y="1993"/>
                </a:cubicBezTo>
                <a:cubicBezTo>
                  <a:pt x="3922" y="4106"/>
                  <a:pt x="3234" y="6556"/>
                  <a:pt x="3047" y="8977"/>
                </a:cubicBezTo>
                <a:cubicBezTo>
                  <a:pt x="2866" y="11266"/>
                  <a:pt x="3123" y="13391"/>
                  <a:pt x="3741" y="15104"/>
                </a:cubicBezTo>
                <a:cubicBezTo>
                  <a:pt x="4298" y="16693"/>
                  <a:pt x="5168" y="17898"/>
                  <a:pt x="6180" y="18658"/>
                </a:cubicBezTo>
                <a:cubicBezTo>
                  <a:pt x="7095" y="19347"/>
                  <a:pt x="8131" y="19675"/>
                  <a:pt x="9189" y="19615"/>
                </a:cubicBezTo>
                <a:cubicBezTo>
                  <a:pt x="9142" y="19711"/>
                  <a:pt x="9093" y="19803"/>
                  <a:pt x="9046" y="19895"/>
                </a:cubicBezTo>
                <a:cubicBezTo>
                  <a:pt x="9182" y="19763"/>
                  <a:pt x="9382" y="19635"/>
                  <a:pt x="9535" y="19559"/>
                </a:cubicBezTo>
                <a:cubicBezTo>
                  <a:pt x="9414" y="19499"/>
                  <a:pt x="9273" y="19395"/>
                  <a:pt x="9194" y="19275"/>
                </a:cubicBezTo>
                <a:cubicBezTo>
                  <a:pt x="9196" y="19367"/>
                  <a:pt x="9199" y="19459"/>
                  <a:pt x="9201" y="19547"/>
                </a:cubicBezTo>
                <a:cubicBezTo>
                  <a:pt x="8150" y="19603"/>
                  <a:pt x="7124" y="19275"/>
                  <a:pt x="6219" y="18590"/>
                </a:cubicBezTo>
                <a:cubicBezTo>
                  <a:pt x="5218" y="17834"/>
                  <a:pt x="4357" y="16637"/>
                  <a:pt x="3808" y="15060"/>
                </a:cubicBezTo>
                <a:cubicBezTo>
                  <a:pt x="3200" y="13359"/>
                  <a:pt x="2948" y="11254"/>
                  <a:pt x="3131" y="8985"/>
                </a:cubicBezTo>
                <a:cubicBezTo>
                  <a:pt x="3323" y="6592"/>
                  <a:pt x="4006" y="4166"/>
                  <a:pt x="5106" y="2077"/>
                </a:cubicBez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32567866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7C1C2271-2C6E-42A2-8C54-D82CF6091FBC}"/>
              </a:ext>
            </a:extLst>
          </p:cNvPr>
          <p:cNvSpPr/>
          <p:nvPr userDrawn="1"/>
        </p:nvSpPr>
        <p:spPr>
          <a:xfrm rot="16200000" flipH="1">
            <a:off x="4926330" y="6859"/>
            <a:ext cx="4224528" cy="4210812"/>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lvl="0"/>
            <a:endParaRPr sz="2250">
              <a:solidFill>
                <a:srgbClr val="FFFFFF"/>
              </a:solidFill>
              <a:effectLst>
                <a:outerShdw blurRad="38100" dist="12700" dir="5400000" rotWithShape="0">
                  <a:srgbClr val="000000">
                    <a:alpha val="50000"/>
                  </a:srgbClr>
                </a:outerShdw>
              </a:effectLst>
            </a:endParaRPr>
          </a:p>
        </p:txBody>
      </p:sp>
      <p:sp>
        <p:nvSpPr>
          <p:cNvPr id="22" name="Freeform 21">
            <a:extLst>
              <a:ext uri="{FF2B5EF4-FFF2-40B4-BE49-F238E27FC236}">
                <a16:creationId xmlns:a16="http://schemas.microsoft.com/office/drawing/2014/main" id="{FB639947-3EF4-6B42-8448-3B456A4908AF}"/>
              </a:ext>
            </a:extLst>
          </p:cNvPr>
          <p:cNvSpPr>
            <a:spLocks noGrp="1"/>
          </p:cNvSpPr>
          <p:nvPr>
            <p:ph type="pic" sz="quarter" idx="17"/>
          </p:nvPr>
        </p:nvSpPr>
        <p:spPr>
          <a:xfrm>
            <a:off x="5795766" y="1104858"/>
            <a:ext cx="2497505" cy="2448529"/>
          </a:xfrm>
          <a:custGeom>
            <a:avLst/>
            <a:gdLst>
              <a:gd name="connsiteX0" fmla="*/ 1254149 w 3330006"/>
              <a:gd name="connsiteY0" fmla="*/ 800 h 3264705"/>
              <a:gd name="connsiteX1" fmla="*/ 2648610 w 3330006"/>
              <a:gd name="connsiteY1" fmla="*/ 554663 h 3264705"/>
              <a:gd name="connsiteX2" fmla="*/ 3008271 w 3330006"/>
              <a:gd name="connsiteY2" fmla="*/ 2858248 h 3264705"/>
              <a:gd name="connsiteX3" fmla="*/ 681396 w 3330006"/>
              <a:gd name="connsiteY3" fmla="*/ 2710195 h 3264705"/>
              <a:gd name="connsiteX4" fmla="*/ 321737 w 3330006"/>
              <a:gd name="connsiteY4" fmla="*/ 406442 h 3264705"/>
              <a:gd name="connsiteX5" fmla="*/ 1254149 w 3330006"/>
              <a:gd name="connsiteY5" fmla="*/ 800 h 326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0006" h="3264705">
                <a:moveTo>
                  <a:pt x="1254149" y="800"/>
                </a:moveTo>
                <a:cubicBezTo>
                  <a:pt x="1719128" y="-13882"/>
                  <a:pt x="2231318" y="173740"/>
                  <a:pt x="2648610" y="554663"/>
                </a:cubicBezTo>
                <a:cubicBezTo>
                  <a:pt x="3390464" y="1231692"/>
                  <a:pt x="3551516" y="2263002"/>
                  <a:pt x="3008271" y="2858248"/>
                </a:cubicBezTo>
                <a:cubicBezTo>
                  <a:pt x="2465025" y="3453493"/>
                  <a:pt x="1423250" y="3387224"/>
                  <a:pt x="681396" y="2710195"/>
                </a:cubicBezTo>
                <a:cubicBezTo>
                  <a:pt x="-60457" y="2032998"/>
                  <a:pt x="-221510" y="1001688"/>
                  <a:pt x="321737" y="406442"/>
                </a:cubicBezTo>
                <a:cubicBezTo>
                  <a:pt x="559407" y="146022"/>
                  <a:pt x="892498" y="12220"/>
                  <a:pt x="1254149" y="800"/>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8" name="Title 1">
            <a:extLst>
              <a:ext uri="{FF2B5EF4-FFF2-40B4-BE49-F238E27FC236}">
                <a16:creationId xmlns:a16="http://schemas.microsoft.com/office/drawing/2014/main" id="{1907DC5D-4F3E-4A99-A621-6F93F32265C8}"/>
              </a:ext>
            </a:extLst>
          </p:cNvPr>
          <p:cNvSpPr>
            <a:spLocks noGrp="1"/>
          </p:cNvSpPr>
          <p:nvPr>
            <p:ph type="title"/>
          </p:nvPr>
        </p:nvSpPr>
        <p:spPr>
          <a:xfrm>
            <a:off x="623888" y="1282304"/>
            <a:ext cx="4426094" cy="2139553"/>
          </a:xfrm>
        </p:spPr>
        <p:txBody>
          <a:bodyPr anchor="b"/>
          <a:lstStyle>
            <a:lvl1pPr>
              <a:defRPr sz="4500"/>
            </a:lvl1pPr>
          </a:lstStyle>
          <a:p>
            <a:r>
              <a:rPr lang="en-US"/>
              <a:t>Click to edit Master title style</a:t>
            </a:r>
          </a:p>
        </p:txBody>
      </p:sp>
      <p:sp>
        <p:nvSpPr>
          <p:cNvPr id="9" name="Text Placeholder 2">
            <a:extLst>
              <a:ext uri="{FF2B5EF4-FFF2-40B4-BE49-F238E27FC236}">
                <a16:creationId xmlns:a16="http://schemas.microsoft.com/office/drawing/2014/main" id="{9DA8F992-7750-4566-AB4F-B2E8F3794CA3}"/>
              </a:ext>
            </a:extLst>
          </p:cNvPr>
          <p:cNvSpPr>
            <a:spLocks noGrp="1"/>
          </p:cNvSpPr>
          <p:nvPr>
            <p:ph type="body" idx="1"/>
          </p:nvPr>
        </p:nvSpPr>
        <p:spPr>
          <a:xfrm>
            <a:off x="623888" y="3442098"/>
            <a:ext cx="4426094"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0" name="Date Placeholder 3">
            <a:extLst>
              <a:ext uri="{FF2B5EF4-FFF2-40B4-BE49-F238E27FC236}">
                <a16:creationId xmlns:a16="http://schemas.microsoft.com/office/drawing/2014/main" id="{0FEC4993-EF72-4ADC-8D11-1EB7C9409528}"/>
              </a:ext>
            </a:extLst>
          </p:cNvPr>
          <p:cNvSpPr>
            <a:spLocks noGrp="1"/>
          </p:cNvSpPr>
          <p:nvPr>
            <p:ph type="dt" sz="half" idx="10"/>
          </p:nvPr>
        </p:nvSpPr>
        <p:spPr>
          <a:xfrm>
            <a:off x="628650" y="4767263"/>
            <a:ext cx="2057400" cy="273844"/>
          </a:xfrm>
        </p:spPr>
        <p:txBody>
          <a:bodyPr/>
          <a:lstStyle/>
          <a:p>
            <a:r>
              <a:rPr lang="en-US"/>
              <a:t>Date</a:t>
            </a:r>
          </a:p>
        </p:txBody>
      </p:sp>
      <p:sp>
        <p:nvSpPr>
          <p:cNvPr id="11" name="Footer Placeholder 4">
            <a:extLst>
              <a:ext uri="{FF2B5EF4-FFF2-40B4-BE49-F238E27FC236}">
                <a16:creationId xmlns:a16="http://schemas.microsoft.com/office/drawing/2014/main" id="{B145FAD1-5607-4570-9675-FE264814964D}"/>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12" name="Slide Number Placeholder 5">
            <a:extLst>
              <a:ext uri="{FF2B5EF4-FFF2-40B4-BE49-F238E27FC236}">
                <a16:creationId xmlns:a16="http://schemas.microsoft.com/office/drawing/2014/main" id="{265FB8DD-A34F-4C06-9929-1E68FACD4D00}"/>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6" name="Text Placeholder 17">
            <a:extLst>
              <a:ext uri="{FF2B5EF4-FFF2-40B4-BE49-F238E27FC236}">
                <a16:creationId xmlns:a16="http://schemas.microsoft.com/office/drawing/2014/main" id="{A537F86F-E8D6-44FF-939F-7EB5A46935EE}"/>
              </a:ext>
            </a:extLst>
          </p:cNvPr>
          <p:cNvSpPr>
            <a:spLocks noGrp="1"/>
          </p:cNvSpPr>
          <p:nvPr>
            <p:ph type="body" sz="quarter" idx="14" hasCustomPrompt="1"/>
          </p:nvPr>
        </p:nvSpPr>
        <p:spPr>
          <a:xfrm>
            <a:off x="5637060" y="3553459"/>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a:t>Name</a:t>
            </a:r>
          </a:p>
        </p:txBody>
      </p:sp>
      <p:sp>
        <p:nvSpPr>
          <p:cNvPr id="17" name="Text Placeholder 17">
            <a:extLst>
              <a:ext uri="{FF2B5EF4-FFF2-40B4-BE49-F238E27FC236}">
                <a16:creationId xmlns:a16="http://schemas.microsoft.com/office/drawing/2014/main" id="{17C97F11-0CC0-4E01-8422-614383043296}"/>
              </a:ext>
            </a:extLst>
          </p:cNvPr>
          <p:cNvSpPr>
            <a:spLocks noGrp="1"/>
          </p:cNvSpPr>
          <p:nvPr>
            <p:ph type="body" sz="quarter" idx="15" hasCustomPrompt="1"/>
          </p:nvPr>
        </p:nvSpPr>
        <p:spPr>
          <a:xfrm>
            <a:off x="5637060" y="3723958"/>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a:t>Mobile / email</a:t>
            </a:r>
          </a:p>
        </p:txBody>
      </p:sp>
      <p:sp>
        <p:nvSpPr>
          <p:cNvPr id="18" name="Text Placeholder 17">
            <a:extLst>
              <a:ext uri="{FF2B5EF4-FFF2-40B4-BE49-F238E27FC236}">
                <a16:creationId xmlns:a16="http://schemas.microsoft.com/office/drawing/2014/main" id="{322609FE-C556-4394-9CD9-CACD20BC7261}"/>
              </a:ext>
            </a:extLst>
          </p:cNvPr>
          <p:cNvSpPr>
            <a:spLocks noGrp="1"/>
          </p:cNvSpPr>
          <p:nvPr>
            <p:ph type="body" sz="quarter" idx="16" hasCustomPrompt="1"/>
          </p:nvPr>
        </p:nvSpPr>
        <p:spPr>
          <a:xfrm>
            <a:off x="5637060" y="3894458"/>
            <a:ext cx="1276350" cy="171450"/>
          </a:xfrm>
          <a:noFill/>
        </p:spPr>
        <p:txBody>
          <a:bodyPr anchor="ctr">
            <a:noAutofit/>
          </a:bodyPr>
          <a:lstStyle>
            <a:lvl1pPr marL="0" indent="0" algn="ctr">
              <a:buNone/>
              <a:defRPr sz="9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a:t>Company</a:t>
            </a:r>
          </a:p>
        </p:txBody>
      </p:sp>
    </p:spTree>
    <p:extLst>
      <p:ext uri="{BB962C8B-B14F-4D97-AF65-F5344CB8AC3E}">
        <p14:creationId xmlns:p14="http://schemas.microsoft.com/office/powerpoint/2010/main" val="40853624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lor and Typography">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C897C59-303D-43EB-830D-58B293D336AC}"/>
              </a:ext>
            </a:extLst>
          </p:cNvPr>
          <p:cNvGrpSpPr/>
          <p:nvPr userDrawn="1"/>
        </p:nvGrpSpPr>
        <p:grpSpPr>
          <a:xfrm>
            <a:off x="628649" y="1373073"/>
            <a:ext cx="7886702" cy="1305845"/>
            <a:chOff x="838199" y="1830763"/>
            <a:chExt cx="10515602" cy="1741127"/>
          </a:xfrm>
        </p:grpSpPr>
        <p:sp>
          <p:nvSpPr>
            <p:cNvPr id="175" name="Rectangle 174">
              <a:extLst>
                <a:ext uri="{FF2B5EF4-FFF2-40B4-BE49-F238E27FC236}">
                  <a16:creationId xmlns:a16="http://schemas.microsoft.com/office/drawing/2014/main" id="{4460574F-0FFA-4AF4-9268-D077C9C57D58}"/>
                </a:ext>
              </a:extLst>
            </p:cNvPr>
            <p:cNvSpPr/>
            <p:nvPr userDrawn="1"/>
          </p:nvSpPr>
          <p:spPr>
            <a:xfrm>
              <a:off x="838199" y="1830763"/>
              <a:ext cx="894312" cy="1741127"/>
            </a:xfrm>
            <a:prstGeom prst="rect">
              <a:avLst/>
            </a:prstGeom>
            <a:solidFill>
              <a:schemeClr val="bg1">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4" name="Rectangle 173">
              <a:extLst>
                <a:ext uri="{FF2B5EF4-FFF2-40B4-BE49-F238E27FC236}">
                  <a16:creationId xmlns:a16="http://schemas.microsoft.com/office/drawing/2014/main" id="{E9AEC03B-EFBC-451C-9889-555B420B787B}"/>
                </a:ext>
              </a:extLst>
            </p:cNvPr>
            <p:cNvSpPr/>
            <p:nvPr userDrawn="1"/>
          </p:nvSpPr>
          <p:spPr>
            <a:xfrm>
              <a:off x="838199" y="1830763"/>
              <a:ext cx="894312" cy="1551307"/>
            </a:xfrm>
            <a:prstGeom prst="rect">
              <a:avLst/>
            </a:prstGeom>
            <a:solidFill>
              <a:schemeClr val="bg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3" name="Rectangle 172">
              <a:extLst>
                <a:ext uri="{FF2B5EF4-FFF2-40B4-BE49-F238E27FC236}">
                  <a16:creationId xmlns:a16="http://schemas.microsoft.com/office/drawing/2014/main" id="{12504A8F-A26B-43AF-BF89-2621FF0CE3CD}"/>
                </a:ext>
              </a:extLst>
            </p:cNvPr>
            <p:cNvSpPr/>
            <p:nvPr userDrawn="1"/>
          </p:nvSpPr>
          <p:spPr>
            <a:xfrm>
              <a:off x="838199" y="1830763"/>
              <a:ext cx="894312" cy="13614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2" name="Rectangle 171">
              <a:extLst>
                <a:ext uri="{FF2B5EF4-FFF2-40B4-BE49-F238E27FC236}">
                  <a16:creationId xmlns:a16="http://schemas.microsoft.com/office/drawing/2014/main" id="{F7726C56-B942-4400-8CE0-069969802448}"/>
                </a:ext>
              </a:extLst>
            </p:cNvPr>
            <p:cNvSpPr/>
            <p:nvPr userDrawn="1"/>
          </p:nvSpPr>
          <p:spPr>
            <a:xfrm>
              <a:off x="838199" y="1830763"/>
              <a:ext cx="894312" cy="11716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1" name="Rectangle 170">
              <a:extLst>
                <a:ext uri="{FF2B5EF4-FFF2-40B4-BE49-F238E27FC236}">
                  <a16:creationId xmlns:a16="http://schemas.microsoft.com/office/drawing/2014/main" id="{DAE760DB-698E-4688-BBAF-49FD684C7AFD}"/>
                </a:ext>
              </a:extLst>
            </p:cNvPr>
            <p:cNvSpPr/>
            <p:nvPr userDrawn="1"/>
          </p:nvSpPr>
          <p:spPr>
            <a:xfrm>
              <a:off x="838199" y="1830763"/>
              <a:ext cx="894312" cy="981846"/>
            </a:xfrm>
            <a:prstGeom prst="rect">
              <a:avLst/>
            </a:prstGeom>
            <a:solidFill>
              <a:schemeClr val="bg1">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0" name="Rectangle 169">
              <a:extLst>
                <a:ext uri="{FF2B5EF4-FFF2-40B4-BE49-F238E27FC236}">
                  <a16:creationId xmlns:a16="http://schemas.microsoft.com/office/drawing/2014/main" id="{72A9A194-717A-430D-B418-44C0B8F1A4C3}"/>
                </a:ext>
              </a:extLst>
            </p:cNvPr>
            <p:cNvSpPr/>
            <p:nvPr userDrawn="1"/>
          </p:nvSpPr>
          <p:spPr>
            <a:xfrm>
              <a:off x="838200" y="1830763"/>
              <a:ext cx="894312" cy="78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79" name="Rectangle 178">
              <a:extLst>
                <a:ext uri="{FF2B5EF4-FFF2-40B4-BE49-F238E27FC236}">
                  <a16:creationId xmlns:a16="http://schemas.microsoft.com/office/drawing/2014/main" id="{E915F52A-A44F-4FB1-A1A1-1A513475EFE8}"/>
                </a:ext>
              </a:extLst>
            </p:cNvPr>
            <p:cNvSpPr/>
            <p:nvPr userDrawn="1"/>
          </p:nvSpPr>
          <p:spPr>
            <a:xfrm>
              <a:off x="1907231" y="1830763"/>
              <a:ext cx="894312" cy="1741127"/>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0" name="Rectangle 179">
              <a:extLst>
                <a:ext uri="{FF2B5EF4-FFF2-40B4-BE49-F238E27FC236}">
                  <a16:creationId xmlns:a16="http://schemas.microsoft.com/office/drawing/2014/main" id="{6034C492-58E9-4550-B83D-E33D2B2217E6}"/>
                </a:ext>
              </a:extLst>
            </p:cNvPr>
            <p:cNvSpPr/>
            <p:nvPr userDrawn="1"/>
          </p:nvSpPr>
          <p:spPr>
            <a:xfrm>
              <a:off x="1907231" y="1830763"/>
              <a:ext cx="894312" cy="1551307"/>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1" name="Rectangle 180">
              <a:extLst>
                <a:ext uri="{FF2B5EF4-FFF2-40B4-BE49-F238E27FC236}">
                  <a16:creationId xmlns:a16="http://schemas.microsoft.com/office/drawing/2014/main" id="{F92FB454-2844-432A-897E-609CA7D5AB13}"/>
                </a:ext>
              </a:extLst>
            </p:cNvPr>
            <p:cNvSpPr/>
            <p:nvPr userDrawn="1"/>
          </p:nvSpPr>
          <p:spPr>
            <a:xfrm>
              <a:off x="1907231" y="1830763"/>
              <a:ext cx="894312" cy="1361486"/>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2" name="Rectangle 181">
              <a:extLst>
                <a:ext uri="{FF2B5EF4-FFF2-40B4-BE49-F238E27FC236}">
                  <a16:creationId xmlns:a16="http://schemas.microsoft.com/office/drawing/2014/main" id="{DFE585D9-1B79-4D2C-BE24-8DD53BF2D43D}"/>
                </a:ext>
              </a:extLst>
            </p:cNvPr>
            <p:cNvSpPr/>
            <p:nvPr userDrawn="1"/>
          </p:nvSpPr>
          <p:spPr>
            <a:xfrm>
              <a:off x="1907231" y="1830763"/>
              <a:ext cx="894312" cy="1171666"/>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3" name="Rectangle 182">
              <a:extLst>
                <a:ext uri="{FF2B5EF4-FFF2-40B4-BE49-F238E27FC236}">
                  <a16:creationId xmlns:a16="http://schemas.microsoft.com/office/drawing/2014/main" id="{7CA650B9-D80A-4F55-849B-9B9229BAB7AB}"/>
                </a:ext>
              </a:extLst>
            </p:cNvPr>
            <p:cNvSpPr/>
            <p:nvPr userDrawn="1"/>
          </p:nvSpPr>
          <p:spPr>
            <a:xfrm>
              <a:off x="1907231" y="1830763"/>
              <a:ext cx="894312" cy="981846"/>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4" name="Rectangle 183">
              <a:extLst>
                <a:ext uri="{FF2B5EF4-FFF2-40B4-BE49-F238E27FC236}">
                  <a16:creationId xmlns:a16="http://schemas.microsoft.com/office/drawing/2014/main" id="{212A3E8F-2036-4425-950A-9DDCE99E48E2}"/>
                </a:ext>
              </a:extLst>
            </p:cNvPr>
            <p:cNvSpPr/>
            <p:nvPr userDrawn="1"/>
          </p:nvSpPr>
          <p:spPr>
            <a:xfrm>
              <a:off x="1907232" y="1830763"/>
              <a:ext cx="894312" cy="7882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6" name="Rectangle 185">
              <a:extLst>
                <a:ext uri="{FF2B5EF4-FFF2-40B4-BE49-F238E27FC236}">
                  <a16:creationId xmlns:a16="http://schemas.microsoft.com/office/drawing/2014/main" id="{F8D77422-E1EF-442A-B883-288DFB42AC7A}"/>
                </a:ext>
              </a:extLst>
            </p:cNvPr>
            <p:cNvSpPr/>
            <p:nvPr userDrawn="1"/>
          </p:nvSpPr>
          <p:spPr>
            <a:xfrm>
              <a:off x="2976263" y="1830763"/>
              <a:ext cx="894312" cy="1741127"/>
            </a:xfrm>
            <a:prstGeom prst="rect">
              <a:avLst/>
            </a:prstGeom>
            <a:solidFill>
              <a:schemeClr val="bg2">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7" name="Rectangle 186">
              <a:extLst>
                <a:ext uri="{FF2B5EF4-FFF2-40B4-BE49-F238E27FC236}">
                  <a16:creationId xmlns:a16="http://schemas.microsoft.com/office/drawing/2014/main" id="{F5A5458A-8CAB-46ED-A597-7A9BC874E064}"/>
                </a:ext>
              </a:extLst>
            </p:cNvPr>
            <p:cNvSpPr/>
            <p:nvPr userDrawn="1"/>
          </p:nvSpPr>
          <p:spPr>
            <a:xfrm>
              <a:off x="2976263" y="1830763"/>
              <a:ext cx="894312" cy="155130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8" name="Rectangle 187">
              <a:extLst>
                <a:ext uri="{FF2B5EF4-FFF2-40B4-BE49-F238E27FC236}">
                  <a16:creationId xmlns:a16="http://schemas.microsoft.com/office/drawing/2014/main" id="{129FB0AE-0FE9-4E47-89E1-28A56DFEFD44}"/>
                </a:ext>
              </a:extLst>
            </p:cNvPr>
            <p:cNvSpPr/>
            <p:nvPr userDrawn="1"/>
          </p:nvSpPr>
          <p:spPr>
            <a:xfrm>
              <a:off x="2976263" y="1830763"/>
              <a:ext cx="894312" cy="136148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89" name="Rectangle 188">
              <a:extLst>
                <a:ext uri="{FF2B5EF4-FFF2-40B4-BE49-F238E27FC236}">
                  <a16:creationId xmlns:a16="http://schemas.microsoft.com/office/drawing/2014/main" id="{8DCBA888-FF6F-4E0D-AD60-DA0D78CD05D1}"/>
                </a:ext>
              </a:extLst>
            </p:cNvPr>
            <p:cNvSpPr/>
            <p:nvPr userDrawn="1"/>
          </p:nvSpPr>
          <p:spPr>
            <a:xfrm>
              <a:off x="2976263" y="1830763"/>
              <a:ext cx="894312" cy="1171666"/>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0" name="Rectangle 189">
              <a:extLst>
                <a:ext uri="{FF2B5EF4-FFF2-40B4-BE49-F238E27FC236}">
                  <a16:creationId xmlns:a16="http://schemas.microsoft.com/office/drawing/2014/main" id="{F9271256-F951-4086-8A3B-C91C2291A176}"/>
                </a:ext>
              </a:extLst>
            </p:cNvPr>
            <p:cNvSpPr/>
            <p:nvPr userDrawn="1"/>
          </p:nvSpPr>
          <p:spPr>
            <a:xfrm>
              <a:off x="2976263" y="1830763"/>
              <a:ext cx="894312" cy="981846"/>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1" name="Rectangle 190">
              <a:extLst>
                <a:ext uri="{FF2B5EF4-FFF2-40B4-BE49-F238E27FC236}">
                  <a16:creationId xmlns:a16="http://schemas.microsoft.com/office/drawing/2014/main" id="{27D18AA1-C449-4778-A01C-5FEFF6D4B6F0}"/>
                </a:ext>
              </a:extLst>
            </p:cNvPr>
            <p:cNvSpPr/>
            <p:nvPr userDrawn="1"/>
          </p:nvSpPr>
          <p:spPr>
            <a:xfrm>
              <a:off x="2976264" y="1830763"/>
              <a:ext cx="894312" cy="7882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3" name="Rectangle 192">
              <a:extLst>
                <a:ext uri="{FF2B5EF4-FFF2-40B4-BE49-F238E27FC236}">
                  <a16:creationId xmlns:a16="http://schemas.microsoft.com/office/drawing/2014/main" id="{507DEC82-2EA5-41B4-BBE2-03D513A6990F}"/>
                </a:ext>
              </a:extLst>
            </p:cNvPr>
            <p:cNvSpPr/>
            <p:nvPr userDrawn="1"/>
          </p:nvSpPr>
          <p:spPr>
            <a:xfrm>
              <a:off x="4045295" y="1830763"/>
              <a:ext cx="894312" cy="174112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4" name="Rectangle 193">
              <a:extLst>
                <a:ext uri="{FF2B5EF4-FFF2-40B4-BE49-F238E27FC236}">
                  <a16:creationId xmlns:a16="http://schemas.microsoft.com/office/drawing/2014/main" id="{CC3C8386-1A37-4F90-9D5F-F552F6BD3D6B}"/>
                </a:ext>
              </a:extLst>
            </p:cNvPr>
            <p:cNvSpPr/>
            <p:nvPr userDrawn="1"/>
          </p:nvSpPr>
          <p:spPr>
            <a:xfrm>
              <a:off x="4045295" y="1830763"/>
              <a:ext cx="894312" cy="155130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5" name="Rectangle 194">
              <a:extLst>
                <a:ext uri="{FF2B5EF4-FFF2-40B4-BE49-F238E27FC236}">
                  <a16:creationId xmlns:a16="http://schemas.microsoft.com/office/drawing/2014/main" id="{20C96B97-602D-4FB6-83FA-5F537C10D957}"/>
                </a:ext>
              </a:extLst>
            </p:cNvPr>
            <p:cNvSpPr/>
            <p:nvPr userDrawn="1"/>
          </p:nvSpPr>
          <p:spPr>
            <a:xfrm>
              <a:off x="4045295" y="1830763"/>
              <a:ext cx="894312" cy="1361486"/>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6" name="Rectangle 195">
              <a:extLst>
                <a:ext uri="{FF2B5EF4-FFF2-40B4-BE49-F238E27FC236}">
                  <a16:creationId xmlns:a16="http://schemas.microsoft.com/office/drawing/2014/main" id="{C78EB1C9-B967-4BCF-BA1F-F62AD5830A83}"/>
                </a:ext>
              </a:extLst>
            </p:cNvPr>
            <p:cNvSpPr/>
            <p:nvPr userDrawn="1"/>
          </p:nvSpPr>
          <p:spPr>
            <a:xfrm>
              <a:off x="4045295" y="1830763"/>
              <a:ext cx="894312" cy="1171666"/>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7" name="Rectangle 196">
              <a:extLst>
                <a:ext uri="{FF2B5EF4-FFF2-40B4-BE49-F238E27FC236}">
                  <a16:creationId xmlns:a16="http://schemas.microsoft.com/office/drawing/2014/main" id="{530AF99D-4A64-462C-8DC1-2AFD50700E78}"/>
                </a:ext>
              </a:extLst>
            </p:cNvPr>
            <p:cNvSpPr/>
            <p:nvPr userDrawn="1"/>
          </p:nvSpPr>
          <p:spPr>
            <a:xfrm>
              <a:off x="4045295" y="1830763"/>
              <a:ext cx="894312" cy="98184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198" name="Rectangle 197">
              <a:extLst>
                <a:ext uri="{FF2B5EF4-FFF2-40B4-BE49-F238E27FC236}">
                  <a16:creationId xmlns:a16="http://schemas.microsoft.com/office/drawing/2014/main" id="{251EE8AC-B14F-4016-B318-3215BFA74576}"/>
                </a:ext>
              </a:extLst>
            </p:cNvPr>
            <p:cNvSpPr/>
            <p:nvPr userDrawn="1"/>
          </p:nvSpPr>
          <p:spPr>
            <a:xfrm>
              <a:off x="4045296" y="1830763"/>
              <a:ext cx="894312" cy="7882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0" name="Rectangle 199">
              <a:extLst>
                <a:ext uri="{FF2B5EF4-FFF2-40B4-BE49-F238E27FC236}">
                  <a16:creationId xmlns:a16="http://schemas.microsoft.com/office/drawing/2014/main" id="{DB3EFE93-C789-4C06-AE63-48F21F3F0562}"/>
                </a:ext>
              </a:extLst>
            </p:cNvPr>
            <p:cNvSpPr/>
            <p:nvPr userDrawn="1"/>
          </p:nvSpPr>
          <p:spPr>
            <a:xfrm>
              <a:off x="5114327" y="1830763"/>
              <a:ext cx="894312" cy="174112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1" name="Rectangle 200">
              <a:extLst>
                <a:ext uri="{FF2B5EF4-FFF2-40B4-BE49-F238E27FC236}">
                  <a16:creationId xmlns:a16="http://schemas.microsoft.com/office/drawing/2014/main" id="{C159A26F-3E35-43ED-9527-94575D015CF9}"/>
                </a:ext>
              </a:extLst>
            </p:cNvPr>
            <p:cNvSpPr/>
            <p:nvPr userDrawn="1"/>
          </p:nvSpPr>
          <p:spPr>
            <a:xfrm>
              <a:off x="5114327" y="1830763"/>
              <a:ext cx="894312" cy="155130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2" name="Rectangle 201">
              <a:extLst>
                <a:ext uri="{FF2B5EF4-FFF2-40B4-BE49-F238E27FC236}">
                  <a16:creationId xmlns:a16="http://schemas.microsoft.com/office/drawing/2014/main" id="{197FEBE6-4234-4233-9AAC-C966B38A457C}"/>
                </a:ext>
              </a:extLst>
            </p:cNvPr>
            <p:cNvSpPr/>
            <p:nvPr userDrawn="1"/>
          </p:nvSpPr>
          <p:spPr>
            <a:xfrm>
              <a:off x="5114327" y="1830763"/>
              <a:ext cx="894312" cy="136148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3" name="Rectangle 202">
              <a:extLst>
                <a:ext uri="{FF2B5EF4-FFF2-40B4-BE49-F238E27FC236}">
                  <a16:creationId xmlns:a16="http://schemas.microsoft.com/office/drawing/2014/main" id="{4A6CCAEB-B0B2-4918-BF93-14B428F71030}"/>
                </a:ext>
              </a:extLst>
            </p:cNvPr>
            <p:cNvSpPr/>
            <p:nvPr userDrawn="1"/>
          </p:nvSpPr>
          <p:spPr>
            <a:xfrm>
              <a:off x="5114327" y="1830763"/>
              <a:ext cx="894312" cy="117166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4" name="Rectangle 203">
              <a:extLst>
                <a:ext uri="{FF2B5EF4-FFF2-40B4-BE49-F238E27FC236}">
                  <a16:creationId xmlns:a16="http://schemas.microsoft.com/office/drawing/2014/main" id="{26BAB2D9-48E2-4FD7-8266-8DA7249A311F}"/>
                </a:ext>
              </a:extLst>
            </p:cNvPr>
            <p:cNvSpPr/>
            <p:nvPr userDrawn="1"/>
          </p:nvSpPr>
          <p:spPr>
            <a:xfrm>
              <a:off x="5114327" y="1830763"/>
              <a:ext cx="894312" cy="98184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5" name="Rectangle 204">
              <a:extLst>
                <a:ext uri="{FF2B5EF4-FFF2-40B4-BE49-F238E27FC236}">
                  <a16:creationId xmlns:a16="http://schemas.microsoft.com/office/drawing/2014/main" id="{E373E1AE-97F0-411F-ADE1-F7FA57FDB549}"/>
                </a:ext>
              </a:extLst>
            </p:cNvPr>
            <p:cNvSpPr/>
            <p:nvPr userDrawn="1"/>
          </p:nvSpPr>
          <p:spPr>
            <a:xfrm>
              <a:off x="5114328" y="1830763"/>
              <a:ext cx="894312" cy="788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7" name="Rectangle 206">
              <a:extLst>
                <a:ext uri="{FF2B5EF4-FFF2-40B4-BE49-F238E27FC236}">
                  <a16:creationId xmlns:a16="http://schemas.microsoft.com/office/drawing/2014/main" id="{7980EC62-1AA7-49B9-A98C-B1AE41A8BAF7}"/>
                </a:ext>
              </a:extLst>
            </p:cNvPr>
            <p:cNvSpPr/>
            <p:nvPr userDrawn="1"/>
          </p:nvSpPr>
          <p:spPr>
            <a:xfrm>
              <a:off x="6183359" y="1830763"/>
              <a:ext cx="894312" cy="174112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8" name="Rectangle 207">
              <a:extLst>
                <a:ext uri="{FF2B5EF4-FFF2-40B4-BE49-F238E27FC236}">
                  <a16:creationId xmlns:a16="http://schemas.microsoft.com/office/drawing/2014/main" id="{1B940435-8801-4AE0-AF82-51785C14109F}"/>
                </a:ext>
              </a:extLst>
            </p:cNvPr>
            <p:cNvSpPr/>
            <p:nvPr userDrawn="1"/>
          </p:nvSpPr>
          <p:spPr>
            <a:xfrm>
              <a:off x="6183359" y="1830763"/>
              <a:ext cx="894312" cy="155130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09" name="Rectangle 208">
              <a:extLst>
                <a:ext uri="{FF2B5EF4-FFF2-40B4-BE49-F238E27FC236}">
                  <a16:creationId xmlns:a16="http://schemas.microsoft.com/office/drawing/2014/main" id="{709FEA5B-55A5-4A85-90AE-A3E8181AD6B1}"/>
                </a:ext>
              </a:extLst>
            </p:cNvPr>
            <p:cNvSpPr/>
            <p:nvPr userDrawn="1"/>
          </p:nvSpPr>
          <p:spPr>
            <a:xfrm>
              <a:off x="6183359" y="1830763"/>
              <a:ext cx="894312" cy="1361486"/>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0" name="Rectangle 209">
              <a:extLst>
                <a:ext uri="{FF2B5EF4-FFF2-40B4-BE49-F238E27FC236}">
                  <a16:creationId xmlns:a16="http://schemas.microsoft.com/office/drawing/2014/main" id="{AC24C165-A09C-48A0-8D30-43D9272501D0}"/>
                </a:ext>
              </a:extLst>
            </p:cNvPr>
            <p:cNvSpPr/>
            <p:nvPr userDrawn="1"/>
          </p:nvSpPr>
          <p:spPr>
            <a:xfrm>
              <a:off x="6183359" y="1830763"/>
              <a:ext cx="894312" cy="117166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1" name="Rectangle 210">
              <a:extLst>
                <a:ext uri="{FF2B5EF4-FFF2-40B4-BE49-F238E27FC236}">
                  <a16:creationId xmlns:a16="http://schemas.microsoft.com/office/drawing/2014/main" id="{AF779B59-BF2E-434C-A692-81F3395A2DDC}"/>
                </a:ext>
              </a:extLst>
            </p:cNvPr>
            <p:cNvSpPr/>
            <p:nvPr userDrawn="1"/>
          </p:nvSpPr>
          <p:spPr>
            <a:xfrm>
              <a:off x="6183359" y="1830763"/>
              <a:ext cx="894312" cy="98184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2" name="Rectangle 211">
              <a:extLst>
                <a:ext uri="{FF2B5EF4-FFF2-40B4-BE49-F238E27FC236}">
                  <a16:creationId xmlns:a16="http://schemas.microsoft.com/office/drawing/2014/main" id="{72D25286-DFE7-4DB6-BC2A-849B72A1D58F}"/>
                </a:ext>
              </a:extLst>
            </p:cNvPr>
            <p:cNvSpPr/>
            <p:nvPr userDrawn="1"/>
          </p:nvSpPr>
          <p:spPr>
            <a:xfrm>
              <a:off x="6183360" y="1830763"/>
              <a:ext cx="894312" cy="7882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4" name="Rectangle 213">
              <a:extLst>
                <a:ext uri="{FF2B5EF4-FFF2-40B4-BE49-F238E27FC236}">
                  <a16:creationId xmlns:a16="http://schemas.microsoft.com/office/drawing/2014/main" id="{EFFFC619-3DCF-484B-936D-D1C6706967D7}"/>
                </a:ext>
              </a:extLst>
            </p:cNvPr>
            <p:cNvSpPr/>
            <p:nvPr userDrawn="1"/>
          </p:nvSpPr>
          <p:spPr>
            <a:xfrm>
              <a:off x="7252391" y="1830763"/>
              <a:ext cx="894312" cy="174112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5" name="Rectangle 214">
              <a:extLst>
                <a:ext uri="{FF2B5EF4-FFF2-40B4-BE49-F238E27FC236}">
                  <a16:creationId xmlns:a16="http://schemas.microsoft.com/office/drawing/2014/main" id="{C36F1647-E3A7-42C7-94DB-E22470CD7962}"/>
                </a:ext>
              </a:extLst>
            </p:cNvPr>
            <p:cNvSpPr/>
            <p:nvPr userDrawn="1"/>
          </p:nvSpPr>
          <p:spPr>
            <a:xfrm>
              <a:off x="7252391" y="1830763"/>
              <a:ext cx="894312" cy="1551307"/>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6" name="Rectangle 215">
              <a:extLst>
                <a:ext uri="{FF2B5EF4-FFF2-40B4-BE49-F238E27FC236}">
                  <a16:creationId xmlns:a16="http://schemas.microsoft.com/office/drawing/2014/main" id="{0812BACF-D77F-4A42-A212-538847FF9776}"/>
                </a:ext>
              </a:extLst>
            </p:cNvPr>
            <p:cNvSpPr/>
            <p:nvPr userDrawn="1"/>
          </p:nvSpPr>
          <p:spPr>
            <a:xfrm>
              <a:off x="7252391" y="1830763"/>
              <a:ext cx="894312" cy="1361486"/>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7" name="Rectangle 216">
              <a:extLst>
                <a:ext uri="{FF2B5EF4-FFF2-40B4-BE49-F238E27FC236}">
                  <a16:creationId xmlns:a16="http://schemas.microsoft.com/office/drawing/2014/main" id="{63855A19-9DBA-4293-A411-6842A7DAA995}"/>
                </a:ext>
              </a:extLst>
            </p:cNvPr>
            <p:cNvSpPr/>
            <p:nvPr userDrawn="1"/>
          </p:nvSpPr>
          <p:spPr>
            <a:xfrm>
              <a:off x="7252391" y="1830763"/>
              <a:ext cx="894312" cy="117166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8" name="Rectangle 217">
              <a:extLst>
                <a:ext uri="{FF2B5EF4-FFF2-40B4-BE49-F238E27FC236}">
                  <a16:creationId xmlns:a16="http://schemas.microsoft.com/office/drawing/2014/main" id="{E705E91E-E65F-4094-8904-D56C56FC5F44}"/>
                </a:ext>
              </a:extLst>
            </p:cNvPr>
            <p:cNvSpPr/>
            <p:nvPr userDrawn="1"/>
          </p:nvSpPr>
          <p:spPr>
            <a:xfrm>
              <a:off x="7252391" y="1830763"/>
              <a:ext cx="894312" cy="98184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19" name="Rectangle 218">
              <a:extLst>
                <a:ext uri="{FF2B5EF4-FFF2-40B4-BE49-F238E27FC236}">
                  <a16:creationId xmlns:a16="http://schemas.microsoft.com/office/drawing/2014/main" id="{B6DEB2ED-B6FD-4B88-90DA-9530DA2E64C9}"/>
                </a:ext>
              </a:extLst>
            </p:cNvPr>
            <p:cNvSpPr/>
            <p:nvPr userDrawn="1"/>
          </p:nvSpPr>
          <p:spPr>
            <a:xfrm>
              <a:off x="7252392" y="1830763"/>
              <a:ext cx="894312" cy="7882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1" name="Rectangle 220">
              <a:extLst>
                <a:ext uri="{FF2B5EF4-FFF2-40B4-BE49-F238E27FC236}">
                  <a16:creationId xmlns:a16="http://schemas.microsoft.com/office/drawing/2014/main" id="{62E667E1-7F5F-4E4F-AF63-4AB31D847AE0}"/>
                </a:ext>
              </a:extLst>
            </p:cNvPr>
            <p:cNvSpPr/>
            <p:nvPr userDrawn="1"/>
          </p:nvSpPr>
          <p:spPr>
            <a:xfrm>
              <a:off x="8321423" y="1830763"/>
              <a:ext cx="894312" cy="174112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2" name="Rectangle 221">
              <a:extLst>
                <a:ext uri="{FF2B5EF4-FFF2-40B4-BE49-F238E27FC236}">
                  <a16:creationId xmlns:a16="http://schemas.microsoft.com/office/drawing/2014/main" id="{A9D94CA5-400D-47AE-9512-4557FBE20192}"/>
                </a:ext>
              </a:extLst>
            </p:cNvPr>
            <p:cNvSpPr/>
            <p:nvPr userDrawn="1"/>
          </p:nvSpPr>
          <p:spPr>
            <a:xfrm>
              <a:off x="8321423" y="1830763"/>
              <a:ext cx="894312" cy="155130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3" name="Rectangle 222">
              <a:extLst>
                <a:ext uri="{FF2B5EF4-FFF2-40B4-BE49-F238E27FC236}">
                  <a16:creationId xmlns:a16="http://schemas.microsoft.com/office/drawing/2014/main" id="{1E60784B-8569-41D5-BB14-8F5DAFDCE67A}"/>
                </a:ext>
              </a:extLst>
            </p:cNvPr>
            <p:cNvSpPr/>
            <p:nvPr userDrawn="1"/>
          </p:nvSpPr>
          <p:spPr>
            <a:xfrm>
              <a:off x="8321423" y="1830763"/>
              <a:ext cx="894312" cy="1361486"/>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4" name="Rectangle 223">
              <a:extLst>
                <a:ext uri="{FF2B5EF4-FFF2-40B4-BE49-F238E27FC236}">
                  <a16:creationId xmlns:a16="http://schemas.microsoft.com/office/drawing/2014/main" id="{FE043B0E-D351-4B21-BB22-FF8713E0E199}"/>
                </a:ext>
              </a:extLst>
            </p:cNvPr>
            <p:cNvSpPr/>
            <p:nvPr userDrawn="1"/>
          </p:nvSpPr>
          <p:spPr>
            <a:xfrm>
              <a:off x="8321423" y="1830763"/>
              <a:ext cx="894312" cy="117166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514350">
                <a:defRPr/>
              </a:pPr>
              <a:endParaRPr lang="en-US" sz="1013">
                <a:solidFill>
                  <a:srgbClr val="FFFFFF"/>
                </a:solidFill>
                <a:latin typeface="Calibri" panose="020F0502020204030204"/>
              </a:endParaRPr>
            </a:p>
          </p:txBody>
        </p:sp>
        <p:sp>
          <p:nvSpPr>
            <p:cNvPr id="225" name="Rectangle 224">
              <a:extLst>
                <a:ext uri="{FF2B5EF4-FFF2-40B4-BE49-F238E27FC236}">
                  <a16:creationId xmlns:a16="http://schemas.microsoft.com/office/drawing/2014/main" id="{D57AC92D-3891-4CC7-9301-A742653C394B}"/>
                </a:ext>
              </a:extLst>
            </p:cNvPr>
            <p:cNvSpPr/>
            <p:nvPr userDrawn="1"/>
          </p:nvSpPr>
          <p:spPr>
            <a:xfrm>
              <a:off x="8321423" y="1830763"/>
              <a:ext cx="894312" cy="98184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6" name="Rectangle 225">
              <a:extLst>
                <a:ext uri="{FF2B5EF4-FFF2-40B4-BE49-F238E27FC236}">
                  <a16:creationId xmlns:a16="http://schemas.microsoft.com/office/drawing/2014/main" id="{870D976A-0EA2-4422-A1FB-EE1A159B65DC}"/>
                </a:ext>
              </a:extLst>
            </p:cNvPr>
            <p:cNvSpPr/>
            <p:nvPr userDrawn="1"/>
          </p:nvSpPr>
          <p:spPr>
            <a:xfrm>
              <a:off x="8321424" y="1830763"/>
              <a:ext cx="894312" cy="78825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8" name="Rectangle 227">
              <a:extLst>
                <a:ext uri="{FF2B5EF4-FFF2-40B4-BE49-F238E27FC236}">
                  <a16:creationId xmlns:a16="http://schemas.microsoft.com/office/drawing/2014/main" id="{074CEC48-74FA-45A9-9E16-525EB9E974F9}"/>
                </a:ext>
              </a:extLst>
            </p:cNvPr>
            <p:cNvSpPr/>
            <p:nvPr userDrawn="1"/>
          </p:nvSpPr>
          <p:spPr>
            <a:xfrm>
              <a:off x="9390455" y="1830763"/>
              <a:ext cx="894312" cy="1741127"/>
            </a:xfrm>
            <a:prstGeom prst="rect">
              <a:avLst/>
            </a:prstGeom>
            <a:solidFill>
              <a:schemeClr val="accent5">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29" name="Rectangle 228">
              <a:extLst>
                <a:ext uri="{FF2B5EF4-FFF2-40B4-BE49-F238E27FC236}">
                  <a16:creationId xmlns:a16="http://schemas.microsoft.com/office/drawing/2014/main" id="{8CA8D9C7-FFCE-4895-B720-C9F65C686B93}"/>
                </a:ext>
              </a:extLst>
            </p:cNvPr>
            <p:cNvSpPr/>
            <p:nvPr userDrawn="1"/>
          </p:nvSpPr>
          <p:spPr>
            <a:xfrm>
              <a:off x="9390455" y="1830763"/>
              <a:ext cx="894312" cy="1551307"/>
            </a:xfrm>
            <a:prstGeom prst="rect">
              <a:avLst/>
            </a:prstGeom>
            <a:solidFill>
              <a:schemeClr val="accent5">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0" name="Rectangle 229">
              <a:extLst>
                <a:ext uri="{FF2B5EF4-FFF2-40B4-BE49-F238E27FC236}">
                  <a16:creationId xmlns:a16="http://schemas.microsoft.com/office/drawing/2014/main" id="{DF8FDE11-2636-4F16-BC4C-C0DBD965F47E}"/>
                </a:ext>
              </a:extLst>
            </p:cNvPr>
            <p:cNvSpPr/>
            <p:nvPr userDrawn="1"/>
          </p:nvSpPr>
          <p:spPr>
            <a:xfrm>
              <a:off x="9390455" y="1830763"/>
              <a:ext cx="894312" cy="136148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1" name="Rectangle 230">
              <a:extLst>
                <a:ext uri="{FF2B5EF4-FFF2-40B4-BE49-F238E27FC236}">
                  <a16:creationId xmlns:a16="http://schemas.microsoft.com/office/drawing/2014/main" id="{EAE2FCEB-5A44-4458-99EB-B2522F731513}"/>
                </a:ext>
              </a:extLst>
            </p:cNvPr>
            <p:cNvSpPr/>
            <p:nvPr userDrawn="1"/>
          </p:nvSpPr>
          <p:spPr>
            <a:xfrm>
              <a:off x="9390455" y="1830763"/>
              <a:ext cx="894312" cy="117166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2" name="Rectangle 231">
              <a:extLst>
                <a:ext uri="{FF2B5EF4-FFF2-40B4-BE49-F238E27FC236}">
                  <a16:creationId xmlns:a16="http://schemas.microsoft.com/office/drawing/2014/main" id="{FA982CEB-3569-4AB2-A279-56909D8DBA2B}"/>
                </a:ext>
              </a:extLst>
            </p:cNvPr>
            <p:cNvSpPr/>
            <p:nvPr userDrawn="1"/>
          </p:nvSpPr>
          <p:spPr>
            <a:xfrm>
              <a:off x="9390455" y="1830763"/>
              <a:ext cx="894312" cy="981846"/>
            </a:xfrm>
            <a:prstGeom prst="rect">
              <a:avLst/>
            </a:prstGeom>
            <a:solidFill>
              <a:schemeClr val="accent5">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3" name="Rectangle 232">
              <a:extLst>
                <a:ext uri="{FF2B5EF4-FFF2-40B4-BE49-F238E27FC236}">
                  <a16:creationId xmlns:a16="http://schemas.microsoft.com/office/drawing/2014/main" id="{B85FDECF-7983-4160-8B97-DA92A01F2A38}"/>
                </a:ext>
              </a:extLst>
            </p:cNvPr>
            <p:cNvSpPr/>
            <p:nvPr userDrawn="1"/>
          </p:nvSpPr>
          <p:spPr>
            <a:xfrm>
              <a:off x="9390456" y="1830763"/>
              <a:ext cx="894312" cy="78825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5" name="Rectangle 234">
              <a:extLst>
                <a:ext uri="{FF2B5EF4-FFF2-40B4-BE49-F238E27FC236}">
                  <a16:creationId xmlns:a16="http://schemas.microsoft.com/office/drawing/2014/main" id="{80F0CF47-25FB-4AB4-837F-33B5D368A8C0}"/>
                </a:ext>
              </a:extLst>
            </p:cNvPr>
            <p:cNvSpPr/>
            <p:nvPr userDrawn="1"/>
          </p:nvSpPr>
          <p:spPr>
            <a:xfrm>
              <a:off x="10459488" y="1830763"/>
              <a:ext cx="894312" cy="174112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6" name="Rectangle 235">
              <a:extLst>
                <a:ext uri="{FF2B5EF4-FFF2-40B4-BE49-F238E27FC236}">
                  <a16:creationId xmlns:a16="http://schemas.microsoft.com/office/drawing/2014/main" id="{12C0DD63-4FB0-4217-BC06-7CEB655B79B6}"/>
                </a:ext>
              </a:extLst>
            </p:cNvPr>
            <p:cNvSpPr/>
            <p:nvPr userDrawn="1"/>
          </p:nvSpPr>
          <p:spPr>
            <a:xfrm>
              <a:off x="10459488" y="1830763"/>
              <a:ext cx="894312" cy="155130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7" name="Rectangle 236">
              <a:extLst>
                <a:ext uri="{FF2B5EF4-FFF2-40B4-BE49-F238E27FC236}">
                  <a16:creationId xmlns:a16="http://schemas.microsoft.com/office/drawing/2014/main" id="{5841390F-E0B0-48E2-8756-2C0A532BC037}"/>
                </a:ext>
              </a:extLst>
            </p:cNvPr>
            <p:cNvSpPr/>
            <p:nvPr userDrawn="1"/>
          </p:nvSpPr>
          <p:spPr>
            <a:xfrm>
              <a:off x="10459488" y="1830763"/>
              <a:ext cx="894312" cy="136148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8" name="Rectangle 237">
              <a:extLst>
                <a:ext uri="{FF2B5EF4-FFF2-40B4-BE49-F238E27FC236}">
                  <a16:creationId xmlns:a16="http://schemas.microsoft.com/office/drawing/2014/main" id="{E49982BC-FA05-4F1B-A8BD-AE3793F3BD02}"/>
                </a:ext>
              </a:extLst>
            </p:cNvPr>
            <p:cNvSpPr/>
            <p:nvPr userDrawn="1"/>
          </p:nvSpPr>
          <p:spPr>
            <a:xfrm>
              <a:off x="10459488" y="1830763"/>
              <a:ext cx="894312" cy="117166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39" name="Rectangle 238">
              <a:extLst>
                <a:ext uri="{FF2B5EF4-FFF2-40B4-BE49-F238E27FC236}">
                  <a16:creationId xmlns:a16="http://schemas.microsoft.com/office/drawing/2014/main" id="{84445015-4210-46FE-958B-F3271E10284B}"/>
                </a:ext>
              </a:extLst>
            </p:cNvPr>
            <p:cNvSpPr/>
            <p:nvPr userDrawn="1"/>
          </p:nvSpPr>
          <p:spPr>
            <a:xfrm>
              <a:off x="10459488" y="1830763"/>
              <a:ext cx="894312" cy="98184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sp>
          <p:nvSpPr>
            <p:cNvPr id="240" name="Rectangle 239">
              <a:extLst>
                <a:ext uri="{FF2B5EF4-FFF2-40B4-BE49-F238E27FC236}">
                  <a16:creationId xmlns:a16="http://schemas.microsoft.com/office/drawing/2014/main" id="{06FD93CB-F173-4C32-9E54-DE5EDB0F83D8}"/>
                </a:ext>
              </a:extLst>
            </p:cNvPr>
            <p:cNvSpPr/>
            <p:nvPr userDrawn="1"/>
          </p:nvSpPr>
          <p:spPr>
            <a:xfrm>
              <a:off x="10459489" y="1830763"/>
              <a:ext cx="894312" cy="7882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lvl="0" algn="ctr" defTabSz="514350"/>
              <a:endParaRPr lang="en-US" sz="1013">
                <a:solidFill>
                  <a:srgbClr val="FFFFFF"/>
                </a:solidFill>
                <a:latin typeface="Calibri" panose="020F0502020204030204"/>
              </a:endParaRPr>
            </a:p>
          </p:txBody>
        </p:sp>
      </p:grpSp>
      <p:sp>
        <p:nvSpPr>
          <p:cNvPr id="12" name="Title 1">
            <a:extLst>
              <a:ext uri="{FF2B5EF4-FFF2-40B4-BE49-F238E27FC236}">
                <a16:creationId xmlns:a16="http://schemas.microsoft.com/office/drawing/2014/main" id="{0D08B00A-9A13-4AB1-A72D-2F499BA2EBAB}"/>
              </a:ext>
            </a:extLst>
          </p:cNvPr>
          <p:cNvSpPr>
            <a:spLocks noGrp="1"/>
          </p:cNvSpPr>
          <p:nvPr userDrawn="1">
            <p:ph type="title"/>
          </p:nvPr>
        </p:nvSpPr>
        <p:spPr>
          <a:xfrm>
            <a:off x="628650" y="273844"/>
            <a:ext cx="7886700" cy="994172"/>
          </a:xfrm>
        </p:spPr>
        <p:txBody>
          <a:bodyPr/>
          <a:lstStyle/>
          <a:p>
            <a:r>
              <a:rPr lang="en-US"/>
              <a:t>Click to edit Master title style</a:t>
            </a:r>
          </a:p>
        </p:txBody>
      </p:sp>
      <p:sp>
        <p:nvSpPr>
          <p:cNvPr id="88" name="Text Placeholder 2">
            <a:extLst>
              <a:ext uri="{FF2B5EF4-FFF2-40B4-BE49-F238E27FC236}">
                <a16:creationId xmlns:a16="http://schemas.microsoft.com/office/drawing/2014/main" id="{BB3FC47E-3339-49A8-AEF2-ECC3BF1514FB}"/>
              </a:ext>
            </a:extLst>
          </p:cNvPr>
          <p:cNvSpPr>
            <a:spLocks noGrp="1"/>
          </p:cNvSpPr>
          <p:nvPr userDrawn="1">
            <p:ph type="body" sz="quarter" idx="10"/>
          </p:nvPr>
        </p:nvSpPr>
        <p:spPr>
          <a:xfrm>
            <a:off x="628649" y="2781863"/>
            <a:ext cx="7886700" cy="994410"/>
          </a:xfrm>
        </p:spPr>
        <p:txBody>
          <a:bodyPr vert="horz" lIns="91440" tIns="45720" rIns="91440" bIns="45720" rtlCol="0" anchor="ctr">
            <a:normAutofit/>
          </a:bodyPr>
          <a:lstStyle>
            <a:lvl1pPr marL="0" indent="0">
              <a:buNone/>
              <a:defRPr lang="en-US" sz="3300" dirty="0">
                <a:solidFill>
                  <a:schemeClr val="accent4"/>
                </a:solidFill>
                <a:latin typeface="+mj-lt"/>
                <a:ea typeface="+mj-ea"/>
                <a:cs typeface="+mj-cs"/>
              </a:defRPr>
            </a:lvl1pPr>
          </a:lstStyle>
          <a:p>
            <a:pPr marL="171450" lvl="0" indent="-171450">
              <a:spcBef>
                <a:spcPct val="0"/>
              </a:spcBef>
            </a:pPr>
            <a:r>
              <a:rPr lang="en-US"/>
              <a:t>Click to edit Master text styles</a:t>
            </a:r>
          </a:p>
        </p:txBody>
      </p:sp>
      <p:sp>
        <p:nvSpPr>
          <p:cNvPr id="89" name="TextBox 88">
            <a:extLst>
              <a:ext uri="{FF2B5EF4-FFF2-40B4-BE49-F238E27FC236}">
                <a16:creationId xmlns:a16="http://schemas.microsoft.com/office/drawing/2014/main" id="{829D5438-3BC8-4817-9C86-A9AAA6047492}"/>
              </a:ext>
            </a:extLst>
          </p:cNvPr>
          <p:cNvSpPr txBox="1"/>
          <p:nvPr userDrawn="1"/>
        </p:nvSpPr>
        <p:spPr>
          <a:xfrm>
            <a:off x="3352574" y="3024889"/>
            <a:ext cx="2137124" cy="2008242"/>
          </a:xfrm>
          <a:prstGeom prst="rect">
            <a:avLst/>
          </a:prstGeom>
          <a:noFill/>
        </p:spPr>
        <p:txBody>
          <a:bodyPr wrap="none" rtlCol="0">
            <a:spAutoFit/>
          </a:bodyPr>
          <a:lstStyle/>
          <a:p>
            <a:pPr algn="ctr"/>
            <a:r>
              <a:rPr lang="en-US" sz="12450">
                <a:solidFill>
                  <a:schemeClr val="accent5"/>
                </a:solidFill>
              </a:rPr>
              <a:t>Aa</a:t>
            </a:r>
          </a:p>
        </p:txBody>
      </p:sp>
      <p:sp>
        <p:nvSpPr>
          <p:cNvPr id="90" name="Text Placeholder 7">
            <a:extLst>
              <a:ext uri="{FF2B5EF4-FFF2-40B4-BE49-F238E27FC236}">
                <a16:creationId xmlns:a16="http://schemas.microsoft.com/office/drawing/2014/main" id="{676EAA04-3941-4EEF-875A-DA2DBBB0CA82}"/>
              </a:ext>
            </a:extLst>
          </p:cNvPr>
          <p:cNvSpPr>
            <a:spLocks noGrp="1"/>
          </p:cNvSpPr>
          <p:nvPr userDrawn="1">
            <p:ph type="body" sz="quarter" idx="11" hasCustomPrompt="1"/>
          </p:nvPr>
        </p:nvSpPr>
        <p:spPr>
          <a:xfrm>
            <a:off x="3523318" y="4593545"/>
            <a:ext cx="1795635" cy="423749"/>
          </a:xfrm>
        </p:spPr>
        <p:txBody>
          <a:bodyPr anchor="ctr"/>
          <a:lstStyle>
            <a:lvl1pPr marL="0" indent="0" algn="ctr">
              <a:buNone/>
              <a:defRPr/>
            </a:lvl1pPr>
          </a:lstStyle>
          <a:p>
            <a:pPr lvl="0"/>
            <a:r>
              <a:rPr lang="en-US"/>
              <a:t>Font name</a:t>
            </a:r>
          </a:p>
        </p:txBody>
      </p:sp>
      <p:sp>
        <p:nvSpPr>
          <p:cNvPr id="91" name="TextBox 90">
            <a:extLst>
              <a:ext uri="{FF2B5EF4-FFF2-40B4-BE49-F238E27FC236}">
                <a16:creationId xmlns:a16="http://schemas.microsoft.com/office/drawing/2014/main" id="{59DB07F4-2F4D-4904-9DDA-6D453F791811}"/>
              </a:ext>
            </a:extLst>
          </p:cNvPr>
          <p:cNvSpPr txBox="1"/>
          <p:nvPr userDrawn="1"/>
        </p:nvSpPr>
        <p:spPr>
          <a:xfrm>
            <a:off x="5743888" y="3024889"/>
            <a:ext cx="1835760" cy="2008242"/>
          </a:xfrm>
          <a:prstGeom prst="rect">
            <a:avLst/>
          </a:prstGeom>
          <a:noFill/>
        </p:spPr>
        <p:txBody>
          <a:bodyPr wrap="none" rtlCol="0">
            <a:spAutoFit/>
          </a:bodyPr>
          <a:lstStyle/>
          <a:p>
            <a:pPr algn="ctr"/>
            <a:r>
              <a:rPr lang="en-US" sz="12450">
                <a:solidFill>
                  <a:schemeClr val="accent5"/>
                </a:solidFill>
                <a:latin typeface="+mj-lt"/>
              </a:rPr>
              <a:t>Aa</a:t>
            </a:r>
          </a:p>
        </p:txBody>
      </p:sp>
      <p:sp>
        <p:nvSpPr>
          <p:cNvPr id="92" name="Text Placeholder 7">
            <a:extLst>
              <a:ext uri="{FF2B5EF4-FFF2-40B4-BE49-F238E27FC236}">
                <a16:creationId xmlns:a16="http://schemas.microsoft.com/office/drawing/2014/main" id="{72303254-B5A5-44B0-8D71-FB4149C10B7E}"/>
              </a:ext>
            </a:extLst>
          </p:cNvPr>
          <p:cNvSpPr>
            <a:spLocks noGrp="1"/>
          </p:cNvSpPr>
          <p:nvPr userDrawn="1">
            <p:ph type="body" sz="quarter" idx="12" hasCustomPrompt="1"/>
          </p:nvPr>
        </p:nvSpPr>
        <p:spPr>
          <a:xfrm>
            <a:off x="5763950" y="4593545"/>
            <a:ext cx="1795635" cy="423749"/>
          </a:xfrm>
        </p:spPr>
        <p:txBody>
          <a:bodyPr anchor="ctr"/>
          <a:lstStyle>
            <a:lvl1pPr marL="0" indent="0" algn="ctr">
              <a:buNone/>
              <a:defRPr>
                <a:latin typeface="Calibri Light" panose="020F0302020204030204" pitchFamily="34" charset="0"/>
                <a:cs typeface="Calibri Light" panose="020F0302020204030204" pitchFamily="34" charset="0"/>
              </a:defRPr>
            </a:lvl1pPr>
          </a:lstStyle>
          <a:p>
            <a:pPr lvl="0"/>
            <a:r>
              <a:rPr lang="en-US"/>
              <a:t>Font name</a:t>
            </a:r>
          </a:p>
        </p:txBody>
      </p:sp>
    </p:spTree>
    <p:extLst>
      <p:ext uri="{BB962C8B-B14F-4D97-AF65-F5344CB8AC3E}">
        <p14:creationId xmlns:p14="http://schemas.microsoft.com/office/powerpoint/2010/main" val="3336539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5807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16072219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7894987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15349542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2159429525"/>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22585137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18228589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41052737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323340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8035401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34331924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33005988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2724980491"/>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42941672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40968676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09461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27010230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966592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11120161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2368084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55581967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3922577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42150120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9534272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5341897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5301946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2442736607"/>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33451156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2613364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62174497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35500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401086334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320879507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6827441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3525333467"/>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352857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9655261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9216471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9448313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0363816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344354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52278813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35633619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14921253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408585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34712227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13623394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137627625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852344543"/>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204271909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302458362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13870205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5371172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401812000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34974479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1182252044"/>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184317018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31330338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9943781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8540502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59616668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96255904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710758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11029369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39321809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390801508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a:p>
        </p:txBody>
      </p:sp>
    </p:spTree>
    <p:extLst>
      <p:ext uri="{BB962C8B-B14F-4D97-AF65-F5344CB8AC3E}">
        <p14:creationId xmlns:p14="http://schemas.microsoft.com/office/powerpoint/2010/main" val="15125104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32416170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3232630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15889957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646502364"/>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101144304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117890609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2070539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40937126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5429031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356062255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21807215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3358049238"/>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49089973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156455603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5423670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99064163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16671296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1557649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42279799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162326469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65872373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238165103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3590249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70735948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8710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
        <p:nvSpPr>
          <p:cNvPr id="23"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85137277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3088441459"/>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12747640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409215068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7320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a:ea typeface="+mj-ea"/>
              <a:cs typeface="Arial"/>
              <a:sym typeface="Arial"/>
            </a:endParaRPr>
          </a:p>
        </p:txBody>
      </p:sp>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79763493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4942792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55473621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37229993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1623077211"/>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41316427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18973523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57909503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21785400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03590212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35148327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42605941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33909917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702330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9A0490-5A54-4A85-8556-378BE2D399ED}" type="slidenum">
              <a:rPr/>
              <a:pPr>
                <a:defRPr/>
              </a:pPr>
              <a:t>‹#›</a:t>
            </a:fld>
            <a:endParaRPr dirty="0"/>
          </a:p>
        </p:txBody>
      </p:sp>
    </p:spTree>
    <p:extLst>
      <p:ext uri="{BB962C8B-B14F-4D97-AF65-F5344CB8AC3E}">
        <p14:creationId xmlns:p14="http://schemas.microsoft.com/office/powerpoint/2010/main" val="34716417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351567560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154744460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77760219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423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
        <p:nvSpPr>
          <p:cNvPr id="23"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9395129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2519818267"/>
      </p:ext>
    </p:extLst>
  </p:cSld>
  <p:clrMapOvr>
    <a:overrideClrMapping bg1="lt1" tx1="dk1" bg2="lt2" tx2="dk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22956551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27024760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13154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a:ea typeface="+mj-ea"/>
              <a:cs typeface="Arial"/>
              <a:sym typeface="Arial"/>
            </a:endParaRPr>
          </a:p>
        </p:txBody>
      </p:sp>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59562"/>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4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173009114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42642839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1537333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79512073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652529445"/>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42679729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410453980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406647436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44731551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39920042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419150435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386883541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15585438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2642020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endParaRPr lang="en-GB"/>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776174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40361556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45663146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318508303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552718027"/>
      </p:ext>
    </p:extLst>
  </p:cSld>
  <p:clrMapOvr>
    <a:overrideClrMapping bg1="lt1" tx1="dk1" bg2="lt2" tx2="dk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138370207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5604022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38699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18921706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22275225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17800974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4174949450"/>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efinition of </a:t>
              </a:r>
              <a:r>
                <a:rPr lang="en-GB" altLang="en-US" sz="1800" err="1">
                  <a:solidFill>
                    <a:srgbClr val="585858"/>
                  </a:solidFill>
                </a:rPr>
                <a:t>b.o.p</a:t>
              </a:r>
              <a:r>
                <a:rPr lang="en-GB" altLang="en-US" sz="1800">
                  <a:solidFill>
                    <a:srgbClr val="585858"/>
                  </a:solidFill>
                </a:rPr>
                <a:t>. and </a:t>
              </a:r>
              <a:r>
                <a:rPr lang="en-GB" altLang="en-US" sz="1800" err="1">
                  <a:solidFill>
                    <a:srgbClr val="585858"/>
                  </a:solidFill>
                </a:rPr>
                <a:t>i.i.p</a:t>
              </a:r>
              <a:r>
                <a:rPr lang="en-GB" altLang="en-US" sz="180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21193952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396123845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74624091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61995402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52245018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05069662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337270279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80321111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16438651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170134158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11307749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endParaRPr lang="en-GB"/>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937408615"/>
      </p:ext>
    </p:extLst>
  </p:cSld>
  <p:clrMapOvr>
    <a:overrideClrMapping bg1="lt1" tx1="dk1" bg2="lt2" tx2="dk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4459446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145373707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875955670"/>
      </p:ext>
    </p:extLst>
  </p:cSld>
  <p:clrMapOvr>
    <a:overrideClrMapping bg1="lt1" tx1="dk1" bg2="lt2" tx2="dk2" accent1="accent1" accent2="accent2" accent3="accent3" accent4="accent4" accent5="accent5" accent6="accent6" hlink="hlink" folHlink="folHlink"/>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20529211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300499589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41796486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385282467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270317337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2146688046"/>
      </p:ext>
    </p:extLst>
  </p:cSld>
  <p:clrMapOvr>
    <a:overrideClrMapping bg1="lt1" tx1="dk1" bg2="lt2" tx2="dk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2968195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530974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337464398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68100230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47328815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83650672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2152066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75558297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2238354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126000848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a:p>
        </p:txBody>
      </p:sp>
    </p:spTree>
    <p:extLst>
      <p:ext uri="{BB962C8B-B14F-4D97-AF65-F5344CB8AC3E}">
        <p14:creationId xmlns:p14="http://schemas.microsoft.com/office/powerpoint/2010/main" val="298829233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6208684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1"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59420553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03967723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317964871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3229498000"/>
      </p:ext>
    </p:extLst>
  </p:cSld>
  <p:clrMapOvr>
    <a:overrideClrMapping bg1="lt1" tx1="dk1" bg2="lt2" tx2="dk2" accent1="accent1" accent2="accent2" accent3="accent3" accent4="accent4" accent5="accent5" accent6="accent6" hlink="hlink" folHlink="folHlink"/>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343487899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35632155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E9CD56-6B11-42E1-B34B-DFA9892DDDA6}"/>
              </a:ext>
            </a:extLst>
          </p:cNvPr>
          <p:cNvGraphicFramePr>
            <a:graphicFrameLocks noChangeAspect="1"/>
          </p:cNvGraphicFramePr>
          <p:nvPr userDrawn="1">
            <p:custDataLst>
              <p:tags r:id="rId1"/>
            </p:custDataLst>
            <p:extLst>
              <p:ext uri="{D42A27DB-BD31-4B8C-83A1-F6EECF244321}">
                <p14:modId xmlns:p14="http://schemas.microsoft.com/office/powerpoint/2010/main" val="17126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6" name="Object 5" hidden="1">
                        <a:extLst>
                          <a:ext uri="{FF2B5EF4-FFF2-40B4-BE49-F238E27FC236}">
                            <a16:creationId xmlns:a16="http://schemas.microsoft.com/office/drawing/2014/main" id="{B4E9CD56-6B11-42E1-B34B-DFA9892DDD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27924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46309374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141777028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320808744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441275494"/>
      </p:ext>
    </p:extLst>
  </p:cSld>
  <p:clrMapOvr>
    <a:overrideClrMapping bg1="lt1" tx1="dk1" bg2="lt2" tx2="dk2" accent1="accent1" accent2="accent2" accent3="accent3" accent4="accent4" accent5="accent5" accent6="accent6" hlink="hlink" folHlink="folHlink"/>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2768916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8426000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2863322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59004519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6222141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73765577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117318095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40040827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67991274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4165405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39614915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242562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79828255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160401955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38229870"/>
      </p:ext>
    </p:extLst>
  </p:cSld>
  <p:clrMapOvr>
    <a:overrideClrMapping bg1="lt1" tx1="dk1" bg2="lt2" tx2="dk2" accent1="accent1" accent2="accent2" accent3="accent3" accent4="accent4" accent5="accent5" accent6="accent6" hlink="hlink" folHlink="folHlink"/>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102882668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73824368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413713847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43980827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268016741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3885813175"/>
      </p:ext>
    </p:extLst>
  </p:cSld>
  <p:clrMapOvr>
    <a:overrideClrMapping bg1="lt1" tx1="dk1" bg2="lt2" tx2="dk2" accent1="accent1" accent2="accent2" accent3="accent3" accent4="accent4" accent5="accent5" accent6="accent6" hlink="hlink" folHlink="folHlink"/>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291453732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4632212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55075873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43985736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73370929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81535264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341325267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13393064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367572256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a:p>
        </p:txBody>
      </p:sp>
    </p:spTree>
    <p:extLst>
      <p:ext uri="{BB962C8B-B14F-4D97-AF65-F5344CB8AC3E}">
        <p14:creationId xmlns:p14="http://schemas.microsoft.com/office/powerpoint/2010/main" val="51092269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221913274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705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pic>
        <p:nvPicPr>
          <p:cNvPr id="8"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180883149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7243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a:p>
        </p:txBody>
      </p:sp>
      <p:sp>
        <p:nvSpPr>
          <p:cNvPr id="18"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2874973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2465577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4704086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2260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a:solidFill>
                    <a:srgbClr val="585858"/>
                  </a:solidFill>
                </a:rPr>
                <a:t>SSM and Suptech (Lukasz slides x 2) Sertac presentation</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a:solidFill>
                <a:srgbClr val="FFFFFF"/>
              </a:solidFill>
            </a:endParaRPr>
          </a:p>
        </p:txBody>
      </p:sp>
      <p:sp>
        <p:nvSpPr>
          <p:cNvPr id="23"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78193754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Main layout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3088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userDrawn="1"/>
        </p:nvSpPr>
        <p:spPr bwMode="auto">
          <a:xfrm>
            <a:off x="468312" y="1203325"/>
            <a:ext cx="8308627"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a:solidFill>
                <a:srgbClr val="FFFFFF"/>
              </a:solidFill>
            </a:endParaRPr>
          </a:p>
        </p:txBody>
      </p:sp>
      <p:sp>
        <p:nvSpPr>
          <p:cNvPr id="7"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ECB-RESTRICTED</a:t>
            </a:r>
          </a:p>
        </p:txBody>
      </p:sp>
      <p:sp>
        <p:nvSpPr>
          <p:cNvPr id="9" name="Rectangle 4"/>
          <p:cNvSpPr>
            <a:spLocks noGrp="1" noChangeArrowheads="1"/>
          </p:cNvSpPr>
          <p:nvPr>
            <p:ph type="title"/>
          </p:nvPr>
        </p:nvSpPr>
        <p:spPr>
          <a:xfrm>
            <a:off x="463551" y="339502"/>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tx2"/>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144456806"/>
      </p:ext>
    </p:extLst>
  </p:cSld>
  <p:clrMapOvr>
    <a:masterClrMapping/>
  </p:clrMapOvr>
  <p:extLst>
    <p:ext uri="{DCECCB84-F9BA-43D5-87BE-67443E8EF086}">
      <p15:sldGuideLst xmlns:p15="http://schemas.microsoft.com/office/powerpoint/2012/main">
        <p15:guide id="1" pos="5511">
          <p15:clr>
            <a:srgbClr val="FBAE40"/>
          </p15:clr>
        </p15:guide>
        <p15:guide id="2" pos="295">
          <p15:clr>
            <a:srgbClr val="FBAE40"/>
          </p15:clr>
        </p15:guide>
        <p15:guide id="3" orient="horz" pos="758">
          <p15:clr>
            <a:srgbClr val="FBAE40"/>
          </p15:clr>
        </p15:guide>
        <p15:guide id="4" orient="horz" pos="2845">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evider_Pictur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9144000" cy="5143500"/>
          </a:xfrm>
          <a:prstGeom prst="rect">
            <a:avLst/>
          </a:prstGeom>
          <a:solidFill>
            <a:srgbClr val="1B7D7D">
              <a:alpha val="34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a typeface="ヒラギノ角ゴ Pro W3" pitchFamily="-64" charset="-128"/>
            </a:endParaRPr>
          </a:p>
        </p:txBody>
      </p:sp>
      <p:sp>
        <p:nvSpPr>
          <p:cNvPr id="3" name="Rectangle 2"/>
          <p:cNvSpPr/>
          <p:nvPr userDrawn="1"/>
        </p:nvSpPr>
        <p:spPr bwMode="auto">
          <a:xfrm>
            <a:off x="0" y="1208881"/>
            <a:ext cx="9144000" cy="2353470"/>
          </a:xfrm>
          <a:prstGeom prst="rect">
            <a:avLst/>
          </a:prstGeom>
          <a:gradFill flip="none" rotWithShape="1">
            <a:gsLst>
              <a:gs pos="52000">
                <a:schemeClr val="bg1">
                  <a:alpha val="90000"/>
                </a:schemeClr>
              </a:gs>
              <a:gs pos="100000">
                <a:schemeClr val="bg1">
                  <a:alpha val="8000"/>
                </a:schemeClr>
              </a:gs>
              <a:gs pos="91000">
                <a:schemeClr val="bg1">
                  <a:alpha val="7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rgbClr val="008080"/>
              </a:solidFill>
              <a:effectLst/>
              <a:latin typeface="Arial" charset="0"/>
              <a:ea typeface="ヒラギノ角ゴ Pro W3" pitchFamily="-64" charset="-128"/>
            </a:endParaRPr>
          </a:p>
        </p:txBody>
      </p:sp>
      <p:sp>
        <p:nvSpPr>
          <p:cNvPr id="7" name="Text Placeholder 17"/>
          <p:cNvSpPr>
            <a:spLocks noGrp="1"/>
          </p:cNvSpPr>
          <p:nvPr>
            <p:ph type="body" sz="quarter" idx="17" hasCustomPrompt="1"/>
          </p:nvPr>
        </p:nvSpPr>
        <p:spPr>
          <a:xfrm>
            <a:off x="299050" y="1054100"/>
            <a:ext cx="1447200" cy="1447200"/>
          </a:xfrm>
          <a:noFill/>
        </p:spPr>
        <p:txBody>
          <a:bodyPr wrap="none" lIns="0" tIns="0" rIns="0" bIns="0" rtlCol="0">
            <a:noAutofit/>
          </a:bodyPr>
          <a:lstStyle>
            <a:lvl1pPr algn="r">
              <a:defRPr lang="en-US" sz="11500" kern="1200" dirty="0">
                <a:ln>
                  <a:solidFill>
                    <a:srgbClr val="1B7D7D"/>
                  </a:solidFill>
                </a:ln>
                <a:solidFill>
                  <a:schemeClr val="bg1"/>
                </a:solidFill>
              </a:defRPr>
            </a:lvl1pPr>
          </a:lstStyle>
          <a:p>
            <a:pPr marL="0" lvl="0" algn="r" defTabSz="914400" latinLnBrk="0"/>
            <a:r>
              <a:rPr lang="en-US"/>
              <a:t>Click to edit</a:t>
            </a:r>
          </a:p>
        </p:txBody>
      </p:sp>
      <p:sp>
        <p:nvSpPr>
          <p:cNvPr id="6" name="Text Placeholder 16"/>
          <p:cNvSpPr>
            <a:spLocks noGrp="1"/>
          </p:cNvSpPr>
          <p:nvPr>
            <p:ph type="body" sz="quarter" idx="13"/>
          </p:nvPr>
        </p:nvSpPr>
        <p:spPr>
          <a:xfrm>
            <a:off x="1447800" y="1674813"/>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3200" b="1" kern="1200" dirty="0" smtClean="0">
                <a:solidFill>
                  <a:srgbClr val="008080"/>
                </a:solidFill>
                <a:latin typeface="Arial" pitchFamily="34" charset="0"/>
                <a:cs typeface="Arial" pitchFamily="34" charset="0"/>
              </a:defRPr>
            </a:lvl1pPr>
          </a:lstStyle>
          <a:p>
            <a:pPr lvl="0"/>
            <a:endParaRPr lang="en-US"/>
          </a:p>
        </p:txBody>
      </p:sp>
      <p:sp>
        <p:nvSpPr>
          <p:cNvPr id="10" name="Text Placeholder 16"/>
          <p:cNvSpPr>
            <a:spLocks noGrp="1"/>
          </p:cNvSpPr>
          <p:nvPr>
            <p:ph type="body" sz="quarter" idx="18"/>
          </p:nvPr>
        </p:nvSpPr>
        <p:spPr>
          <a:xfrm>
            <a:off x="1447800" y="2598995"/>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lang="en-US" sz="2000" b="0" kern="1200" dirty="0" smtClean="0">
                <a:solidFill>
                  <a:srgbClr val="008080"/>
                </a:solidFill>
                <a:latin typeface="Arial" pitchFamily="34" charset="0"/>
                <a:cs typeface="Arial" pitchFamily="34" charset="0"/>
              </a:defRPr>
            </a:lvl1pPr>
          </a:lstStyle>
          <a:p>
            <a:pPr lvl="0"/>
            <a:endParaRPr lang="en-US"/>
          </a:p>
        </p:txBody>
      </p: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ECB-RESTRICTED</a:t>
            </a:r>
          </a:p>
        </p:txBody>
      </p:sp>
    </p:spTree>
    <p:extLst>
      <p:ext uri="{BB962C8B-B14F-4D97-AF65-F5344CB8AC3E}">
        <p14:creationId xmlns:p14="http://schemas.microsoft.com/office/powerpoint/2010/main" val="1803376387"/>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pos="288">
          <p15:clr>
            <a:srgbClr val="FBAE40"/>
          </p15:clr>
        </p15:guide>
        <p15:guide id="4" pos="5472">
          <p15:clr>
            <a:srgbClr val="FBAE40"/>
          </p15:clr>
        </p15:guide>
        <p15:guide id="5" orient="horz" pos="2772">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1489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a:solidFill>
                <a:srgbClr val="FFFFFF"/>
              </a:solidFill>
            </a:endParaRPr>
          </a:p>
        </p:txBody>
      </p:sp>
      <p:sp>
        <p:nvSpPr>
          <p:cNvPr id="9"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106338561"/>
      </p:ext>
    </p:extLst>
  </p:cSld>
  <p:clrMapOvr>
    <a:overrideClrMapping bg1="lt1" tx1="dk1" bg2="lt2" tx2="dk2" accent1="accent1" accent2="accent2" accent3="accent3" accent4="accent4" accent5="accent5" accent6="accent6" hlink="hlink" folHlink="folHlink"/>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9216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91960814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15807910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34843016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5212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96693133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20235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441545145"/>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26119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a:solidFill>
                <a:srgbClr val="FFFFFF"/>
              </a:solidFill>
            </a:endParaRPr>
          </a:p>
        </p:txBody>
      </p:sp>
      <p:sp>
        <p:nvSpPr>
          <p:cNvPr id="1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4974886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a:solidFill>
                <a:srgbClr val="585858"/>
              </a:solidFill>
            </a:endParaRPr>
          </a:p>
        </p:txBody>
      </p:sp>
      <p:sp>
        <p:nvSpPr>
          <p:cNvPr id="7"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247888213"/>
      </p:ext>
    </p:extLst>
  </p:cSld>
  <p:clrMapOvr>
    <a:overrideClrMapping bg1="lt1" tx1="dk1" bg2="lt2" tx2="dk2" accent1="accent1" accent2="accent2" accent3="accent3" accent4="accent4" accent5="accent5" accent6="accent6" hlink="hlink" folHlink="folHlink"/>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444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a:solidFill>
                <a:srgbClr val="FFFFFF"/>
              </a:solidFill>
            </a:endParaRPr>
          </a:p>
        </p:txBody>
      </p:sp>
      <p:sp>
        <p:nvSpPr>
          <p:cNvPr id="3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25621324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6985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000"/>
            </a:lvl1pPr>
          </a:lstStyle>
          <a:p>
            <a:r>
              <a:rPr lang="en-GB" altLang="en-US"/>
              <a:t>Statistical statement of the economic transactions of an economy with the rest of the world in a specific time period</a:t>
            </a:r>
          </a:p>
          <a:p>
            <a:r>
              <a:rPr lang="en-GB" altLang="en-US"/>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80914947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46396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err="1"/>
              <a:t>You</a:t>
            </a:r>
            <a:r>
              <a:rPr lang="de-DE" altLang="en-US"/>
              <a:t> </a:t>
            </a:r>
            <a:r>
              <a:rPr lang="de-DE" altLang="en-US" err="1"/>
              <a:t>can</a:t>
            </a:r>
            <a:r>
              <a:rPr lang="de-DE" altLang="en-US"/>
              <a:t> </a:t>
            </a:r>
            <a:r>
              <a:rPr lang="de-DE" altLang="en-US" err="1"/>
              <a:t>easily</a:t>
            </a:r>
            <a:r>
              <a:rPr lang="de-DE" altLang="en-US"/>
              <a:t> </a:t>
            </a:r>
            <a:r>
              <a:rPr lang="de-DE" altLang="en-US" err="1"/>
              <a:t>re-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following</a:t>
            </a:r>
            <a:r>
              <a:rPr lang="de-DE" altLang="en-US"/>
              <a:t> </a:t>
            </a:r>
            <a:r>
              <a:rPr lang="de-DE" altLang="en-US" err="1"/>
              <a:t>slides</a:t>
            </a:r>
            <a:r>
              <a:rPr lang="de-DE" altLang="en-US"/>
              <a:t> </a:t>
            </a:r>
            <a:r>
              <a:rPr lang="de-DE" altLang="en-US" err="1"/>
              <a:t>to</a:t>
            </a:r>
            <a:r>
              <a:rPr lang="de-DE" altLang="en-US"/>
              <a:t> </a:t>
            </a:r>
            <a:r>
              <a:rPr lang="de-DE" altLang="en-US" err="1"/>
              <a:t>create</a:t>
            </a:r>
            <a:r>
              <a:rPr lang="de-DE" altLang="en-US"/>
              <a:t> </a:t>
            </a:r>
            <a:r>
              <a:rPr lang="de-DE" altLang="en-US" err="1"/>
              <a:t>your</a:t>
            </a:r>
            <a:r>
              <a:rPr lang="de-DE" altLang="en-US"/>
              <a:t> </a:t>
            </a:r>
            <a:r>
              <a:rPr lang="de-DE" altLang="en-US" err="1"/>
              <a:t>own</a:t>
            </a:r>
            <a:r>
              <a:rPr lang="de-DE" altLang="en-US"/>
              <a:t> </a:t>
            </a:r>
            <a:r>
              <a:rPr lang="de-DE" altLang="en-US" err="1"/>
              <a:t>presentation</a:t>
            </a:r>
            <a:r>
              <a:rPr lang="de-DE" altLang="en-US"/>
              <a:t>.</a:t>
            </a:r>
          </a:p>
          <a:p>
            <a:r>
              <a:rPr lang="de-DE" altLang="en-US" err="1"/>
              <a:t>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pre-defined</a:t>
            </a:r>
            <a:r>
              <a:rPr lang="de-DE" altLang="en-US"/>
              <a:t> </a:t>
            </a:r>
            <a:r>
              <a:rPr lang="de-DE" altLang="en-US" err="1"/>
              <a:t>chart</a:t>
            </a:r>
            <a:r>
              <a:rPr lang="de-DE" altLang="en-US"/>
              <a:t> </a:t>
            </a:r>
            <a:r>
              <a:rPr lang="de-DE" altLang="en-US" err="1"/>
              <a:t>templates</a:t>
            </a:r>
            <a:r>
              <a:rPr lang="de-DE" altLang="en-US"/>
              <a:t> </a:t>
            </a:r>
            <a:r>
              <a:rPr lang="de-DE" altLang="en-US" err="1"/>
              <a:t>to</a:t>
            </a:r>
            <a:r>
              <a:rPr lang="de-DE" altLang="en-US"/>
              <a:t> </a:t>
            </a:r>
            <a:r>
              <a:rPr lang="de-DE" altLang="en-US" err="1"/>
              <a:t>quickly</a:t>
            </a:r>
            <a:r>
              <a:rPr lang="de-DE" altLang="en-US"/>
              <a:t> </a:t>
            </a:r>
            <a:r>
              <a:rPr lang="de-DE" altLang="en-US" err="1"/>
              <a:t>create</a:t>
            </a:r>
            <a:r>
              <a:rPr lang="de-DE" altLang="en-US"/>
              <a:t> a ECB-</a:t>
            </a:r>
            <a:r>
              <a:rPr lang="de-DE" altLang="en-US" err="1"/>
              <a:t>styled</a:t>
            </a:r>
            <a:r>
              <a:rPr lang="de-DE" altLang="en-US"/>
              <a:t> </a:t>
            </a:r>
            <a:r>
              <a:rPr lang="de-DE" altLang="en-US" err="1"/>
              <a:t>chart</a:t>
            </a:r>
            <a:r>
              <a:rPr lang="de-DE" altLang="en-US"/>
              <a:t> </a:t>
            </a:r>
            <a:r>
              <a:rPr lang="de-DE" altLang="en-US" err="1"/>
              <a:t>of</a:t>
            </a:r>
            <a:r>
              <a:rPr lang="de-DE" altLang="en-US"/>
              <a:t> </a:t>
            </a:r>
            <a:r>
              <a:rPr lang="de-DE" altLang="en-US" err="1"/>
              <a:t>various</a:t>
            </a:r>
            <a:r>
              <a:rPr lang="de-DE" altLang="en-US"/>
              <a:t> </a:t>
            </a:r>
            <a:r>
              <a:rPr lang="de-DE" altLang="en-US" err="1"/>
              <a:t>types</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50718376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34753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a:solidFill>
                <a:srgbClr val="FFFFFF"/>
              </a:solidFill>
            </a:endParaRPr>
          </a:p>
        </p:txBody>
      </p:sp>
      <p:sp>
        <p:nvSpPr>
          <p:cNvPr id="14"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89910592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4046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a:solidFill>
                <a:srgbClr val="FFFFFF"/>
              </a:solidFill>
            </a:endParaRPr>
          </a:p>
        </p:txBody>
      </p:sp>
      <p:sp>
        <p:nvSpPr>
          <p:cNvPr id="11"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84500985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18049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a:t>Click icon to add SmartArt graphic</a:t>
            </a:r>
            <a:endParaRPr lang="en-GB" noProof="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15475972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2953029"/>
            <a:ext cx="792162"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4" y="4931440"/>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269456176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180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2953029"/>
            <a:ext cx="792162"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5" y="1653780"/>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50359451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Definition of </a:t>
              </a:r>
              <a:r>
                <a:rPr lang="en-GB" altLang="en-US" sz="1800" err="1"/>
                <a:t>b.o.p</a:t>
              </a:r>
              <a:r>
                <a:rPr lang="en-GB" altLang="en-US" sz="1800"/>
                <a:t>. and </a:t>
              </a:r>
              <a:r>
                <a:rPr lang="en-GB" altLang="en-US" sz="1800" err="1"/>
                <a:t>i.i.p</a:t>
              </a:r>
              <a:r>
                <a:rPr lang="en-GB" altLang="en-US" sz="180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0"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372496223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730939777"/>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98010558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403047768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35475482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4" y="1222376"/>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310998336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3"/>
          <p:cNvSpPr txBox="1">
            <a:spLocks noChangeArrowheads="1"/>
          </p:cNvSpPr>
          <p:nvPr/>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334296127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26662106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648090105"/>
      </p:ext>
    </p:extLst>
  </p:cSld>
  <p:clrMapOvr>
    <a:overrideClrMapping bg1="lt1" tx1="dk1" bg2="lt2" tx2="dk2" accent1="accent1" accent2="accent2" accent3="accent3" accent4="accent4" accent5="accent5" accent6="accent6" hlink="hlink" folHlink="folHlink"/>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1" y="2361883"/>
            <a:ext cx="4718050" cy="1735972"/>
            <a:chOff x="683589" y="2530503"/>
            <a:chExt cx="3582384" cy="1700194"/>
          </a:xfrm>
        </p:grpSpPr>
        <p:sp>
          <p:nvSpPr>
            <p:cNvPr id="8" name="Parallelogram 7"/>
            <p:cNvSpPr/>
            <p:nvPr/>
          </p:nvSpPr>
          <p:spPr bwMode="auto">
            <a:xfrm>
              <a:off x="733010" y="2530503"/>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9" name="Parallelogram 8"/>
            <p:cNvSpPr/>
            <p:nvPr/>
          </p:nvSpPr>
          <p:spPr bwMode="auto">
            <a:xfrm>
              <a:off x="683589" y="3785019"/>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10" name="Group 13"/>
          <p:cNvGrpSpPr>
            <a:grpSpLocks/>
          </p:cNvGrpSpPr>
          <p:nvPr/>
        </p:nvGrpSpPr>
        <p:grpSpPr bwMode="auto">
          <a:xfrm>
            <a:off x="4321176" y="2361883"/>
            <a:ext cx="4718050" cy="1735972"/>
            <a:chOff x="683589" y="2530503"/>
            <a:chExt cx="3582384" cy="1700194"/>
          </a:xfrm>
        </p:grpSpPr>
        <p:sp>
          <p:nvSpPr>
            <p:cNvPr id="11" name="Parallelogram 10"/>
            <p:cNvSpPr/>
            <p:nvPr/>
          </p:nvSpPr>
          <p:spPr bwMode="auto">
            <a:xfrm>
              <a:off x="733010" y="2530503"/>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2" name="Parallelogram 11"/>
            <p:cNvSpPr/>
            <p:nvPr/>
          </p:nvSpPr>
          <p:spPr bwMode="auto">
            <a:xfrm>
              <a:off x="683589" y="3785019"/>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sp>
        <p:nvSpPr>
          <p:cNvPr id="13"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2"/>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370916630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9" y="3483849"/>
            <a:ext cx="2992437" cy="1274009"/>
            <a:chOff x="683589" y="2398279"/>
            <a:chExt cx="3582384" cy="1966187"/>
          </a:xfrm>
        </p:grpSpPr>
        <p:sp>
          <p:nvSpPr>
            <p:cNvPr id="16" name="Parallelogram 15"/>
            <p:cNvSpPr/>
            <p:nvPr/>
          </p:nvSpPr>
          <p:spPr bwMode="auto">
            <a:xfrm>
              <a:off x="733001" y="2398279"/>
              <a:ext cx="3532972" cy="7078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18" name="Group 13"/>
          <p:cNvGrpSpPr>
            <a:grpSpLocks/>
          </p:cNvGrpSpPr>
          <p:nvPr/>
        </p:nvGrpSpPr>
        <p:grpSpPr bwMode="auto">
          <a:xfrm>
            <a:off x="2927351" y="3489407"/>
            <a:ext cx="2992438" cy="1273216"/>
            <a:chOff x="683589" y="2397863"/>
            <a:chExt cx="3582384" cy="1966727"/>
          </a:xfrm>
        </p:grpSpPr>
        <p:sp>
          <p:nvSpPr>
            <p:cNvPr id="19" name="Parallelogram 18"/>
            <p:cNvSpPr/>
            <p:nvPr/>
          </p:nvSpPr>
          <p:spPr bwMode="auto">
            <a:xfrm>
              <a:off x="733001" y="2397863"/>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0" name="Parallelogram 19"/>
            <p:cNvSpPr/>
            <p:nvPr/>
          </p:nvSpPr>
          <p:spPr bwMode="auto">
            <a:xfrm>
              <a:off x="683589" y="3650632"/>
              <a:ext cx="3164281"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1" name="Group 13"/>
          <p:cNvGrpSpPr>
            <a:grpSpLocks/>
          </p:cNvGrpSpPr>
          <p:nvPr/>
        </p:nvGrpSpPr>
        <p:grpSpPr bwMode="auto">
          <a:xfrm>
            <a:off x="157164" y="3489407"/>
            <a:ext cx="2994025" cy="1273216"/>
            <a:chOff x="683589" y="2397863"/>
            <a:chExt cx="3582384" cy="1966727"/>
          </a:xfrm>
        </p:grpSpPr>
        <p:sp>
          <p:nvSpPr>
            <p:cNvPr id="22" name="Parallelogram 21"/>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3" name="Parallelogram 22"/>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4" name="Group 13"/>
          <p:cNvGrpSpPr>
            <a:grpSpLocks/>
          </p:cNvGrpSpPr>
          <p:nvPr/>
        </p:nvGrpSpPr>
        <p:grpSpPr bwMode="auto">
          <a:xfrm>
            <a:off x="5913439" y="1691562"/>
            <a:ext cx="2994025" cy="1274008"/>
            <a:chOff x="683589" y="2398279"/>
            <a:chExt cx="3582384" cy="1966186"/>
          </a:xfrm>
        </p:grpSpPr>
        <p:sp>
          <p:nvSpPr>
            <p:cNvPr id="25" name="Parallelogram 24"/>
            <p:cNvSpPr/>
            <p:nvPr/>
          </p:nvSpPr>
          <p:spPr bwMode="auto">
            <a:xfrm>
              <a:off x="732975" y="2398279"/>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6" name="Parallelogram 25"/>
            <p:cNvSpPr/>
            <p:nvPr/>
          </p:nvSpPr>
          <p:spPr bwMode="auto">
            <a:xfrm>
              <a:off x="683589" y="3651147"/>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7" name="Group 13"/>
          <p:cNvGrpSpPr>
            <a:grpSpLocks/>
          </p:cNvGrpSpPr>
          <p:nvPr/>
        </p:nvGrpSpPr>
        <p:grpSpPr bwMode="auto">
          <a:xfrm>
            <a:off x="3143251" y="1697120"/>
            <a:ext cx="2994025" cy="1273216"/>
            <a:chOff x="683589" y="2397863"/>
            <a:chExt cx="3582384" cy="1966727"/>
          </a:xfrm>
        </p:grpSpPr>
        <p:sp>
          <p:nvSpPr>
            <p:cNvPr id="28" name="Parallelogram 27"/>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9" name="Parallelogram 28"/>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30" name="Group 13"/>
          <p:cNvGrpSpPr>
            <a:grpSpLocks/>
          </p:cNvGrpSpPr>
          <p:nvPr/>
        </p:nvGrpSpPr>
        <p:grpSpPr bwMode="auto">
          <a:xfrm>
            <a:off x="373064" y="1697120"/>
            <a:ext cx="2994025" cy="1273216"/>
            <a:chOff x="683589" y="2397863"/>
            <a:chExt cx="3582384" cy="1966727"/>
          </a:xfrm>
        </p:grpSpPr>
        <p:sp>
          <p:nvSpPr>
            <p:cNvPr id="31" name="Parallelogram 30"/>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32" name="Parallelogram 31"/>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sp>
        <p:nvSpPr>
          <p:cNvPr id="33"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8"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4"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352361312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90109094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3573638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9" name="Picture Placeholder 2"/>
          <p:cNvSpPr>
            <a:spLocks noGrp="1"/>
          </p:cNvSpPr>
          <p:nvPr>
            <p:ph type="pic" sz="quarter" idx="30"/>
          </p:nvPr>
        </p:nvSpPr>
        <p:spPr>
          <a:xfrm>
            <a:off x="798513"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3352946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4"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2" y="126933"/>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77615002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86903582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98249523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1" y="1107036"/>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139533695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51024434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4" y="4931440"/>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a:p>
        </p:txBody>
      </p:sp>
    </p:spTree>
    <p:extLst>
      <p:ext uri="{BB962C8B-B14F-4D97-AF65-F5344CB8AC3E}">
        <p14:creationId xmlns:p14="http://schemas.microsoft.com/office/powerpoint/2010/main" val="288270292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8" name="Rectangle 7"/>
          <p:cNvSpPr>
            <a:spLocks noChangeArrowheads="1"/>
          </p:cNvSpPr>
          <p:nvPr/>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1800">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a:solidFill>
                <a:schemeClr val="bg1"/>
              </a:solidFill>
            </a:endParaRPr>
          </a:p>
        </p:txBody>
      </p:sp>
      <p:sp>
        <p:nvSpPr>
          <p:cNvPr id="11" name="Rectangle 1"/>
          <p:cNvSpPr>
            <a:spLocks noChangeArrowheads="1"/>
          </p:cNvSpPr>
          <p:nvPr/>
        </p:nvSpPr>
        <p:spPr bwMode="auto">
          <a:xfrm>
            <a:off x="468313" y="2953029"/>
            <a:ext cx="792162"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5" y="1653780"/>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1906291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6"/>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343150"/>
            <a:chOff x="318484" y="1489075"/>
            <a:chExt cx="8527332" cy="31242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Project Olympus: road to an integrated SSM IT landscape</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NCA cockpit solutions </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Opening remarks</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endParaRPr lang="en-GB" altLang="en-US" sz="1800" b="1" dirty="0">
                <a:solidFill>
                  <a:srgbClr val="FFFFFF"/>
                </a:solidFill>
              </a:endParaRP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4</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5</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he SSM Cockpit as a key pillar of the of the SSM Tech Strategy</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Interactive gallery walk </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Lunch</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6</a:t>
              </a:r>
            </a:p>
          </p:txBody>
        </p:sp>
        <p:sp>
          <p:nvSpPr>
            <p:cNvPr id="18" name="Rectangle 23"/>
            <p:cNvSpPr>
              <a:spLocks noChangeArrowheads="1"/>
            </p:cNvSpPr>
            <p:nvPr>
              <p:custDataLst>
                <p:tags r:id="rId14"/>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Wrap-up and next steps</a:t>
              </a:r>
            </a:p>
          </p:txBody>
        </p:sp>
      </p:grpSp>
      <p:sp>
        <p:nvSpPr>
          <p:cNvPr id="20"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2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dirty="0"/>
              <a:t>Click to edit Master title style</a:t>
            </a:r>
            <a:endParaRPr lang="en-GB" altLang="en-US" dirty="0"/>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pPr>
                <a:defRPr/>
              </a:pPr>
              <a:t>‹#›</a:t>
            </a:fld>
            <a:endParaRPr/>
          </a:p>
        </p:txBody>
      </p:sp>
    </p:spTree>
    <p:extLst>
      <p:ext uri="{BB962C8B-B14F-4D97-AF65-F5344CB8AC3E}">
        <p14:creationId xmlns:p14="http://schemas.microsoft.com/office/powerpoint/2010/main" val="60807880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1460671129"/>
      </p:ext>
    </p:extLst>
  </p:cSld>
  <p:clrMapOvr>
    <a:overrideClrMapping bg1="lt1" tx1="dk1" bg2="lt2" tx2="dk2" accent1="accent1" accent2="accent2" accent3="accent3" accent4="accent4" accent5="accent5" accent6="accent6" hlink="hlink" folHlink="folHlink"/>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23747409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r>
              <a:rPr lang="en-GB" altLang="en-US"/>
              <a:t>Statistical statement of the economic transactions of an economy with the rest of the world in a specific time period</a:t>
            </a:r>
          </a:p>
          <a:p>
            <a:r>
              <a:rPr lang="en-GB" altLang="en-US"/>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8532147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269753520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4" y="1222376"/>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259649418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3"/>
          <p:cNvSpPr txBox="1">
            <a:spLocks noChangeArrowheads="1"/>
          </p:cNvSpPr>
          <p:nvPr/>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264103418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93185250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t>Use this type of slide to combine text information with an additional picture.</a:t>
            </a:r>
          </a:p>
          <a:p>
            <a:pPr algn="ctr" eaLnBrk="1" hangingPunct="1">
              <a:spcBef>
                <a:spcPct val="0"/>
              </a:spcBef>
              <a:buClrTx/>
              <a:buFontTx/>
              <a:buNone/>
              <a:defRPr/>
            </a:pPr>
            <a:endParaRPr lang="en-GB" altLang="en-US" sz="1800"/>
          </a:p>
        </p:txBody>
      </p:sp>
      <p:sp>
        <p:nvSpPr>
          <p:cNvPr id="7"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pPr>
                <a:defRPr/>
              </a:pPr>
              <a:t>‹#›</a:t>
            </a:fld>
            <a:endParaRPr/>
          </a:p>
        </p:txBody>
      </p:sp>
    </p:spTree>
    <p:extLst>
      <p:ext uri="{BB962C8B-B14F-4D97-AF65-F5344CB8AC3E}">
        <p14:creationId xmlns:p14="http://schemas.microsoft.com/office/powerpoint/2010/main" val="489987395"/>
      </p:ext>
    </p:extLst>
  </p:cSld>
  <p:clrMapOvr>
    <a:overrideClrMapping bg1="lt1" tx1="dk1" bg2="lt2" tx2="dk2" accent1="accent1" accent2="accent2" accent3="accent3" accent4="accent4" accent5="accent5" accent6="accent6" hlink="hlink" folHlink="folHlink"/>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1" y="2361883"/>
            <a:ext cx="4718050" cy="1735972"/>
            <a:chOff x="683589" y="2530503"/>
            <a:chExt cx="3582384" cy="1700194"/>
          </a:xfrm>
        </p:grpSpPr>
        <p:sp>
          <p:nvSpPr>
            <p:cNvPr id="8" name="Parallelogram 7"/>
            <p:cNvSpPr/>
            <p:nvPr/>
          </p:nvSpPr>
          <p:spPr bwMode="auto">
            <a:xfrm>
              <a:off x="733010" y="2530503"/>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9" name="Parallelogram 8"/>
            <p:cNvSpPr/>
            <p:nvPr/>
          </p:nvSpPr>
          <p:spPr bwMode="auto">
            <a:xfrm>
              <a:off x="683589" y="3785019"/>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10" name="Group 13"/>
          <p:cNvGrpSpPr>
            <a:grpSpLocks/>
          </p:cNvGrpSpPr>
          <p:nvPr/>
        </p:nvGrpSpPr>
        <p:grpSpPr bwMode="auto">
          <a:xfrm>
            <a:off x="4321176" y="2361883"/>
            <a:ext cx="4718050" cy="1735972"/>
            <a:chOff x="683589" y="2530503"/>
            <a:chExt cx="3582384" cy="1700194"/>
          </a:xfrm>
        </p:grpSpPr>
        <p:sp>
          <p:nvSpPr>
            <p:cNvPr id="11" name="Parallelogram 10"/>
            <p:cNvSpPr/>
            <p:nvPr/>
          </p:nvSpPr>
          <p:spPr bwMode="auto">
            <a:xfrm>
              <a:off x="733010" y="2530503"/>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2" name="Parallelogram 11"/>
            <p:cNvSpPr/>
            <p:nvPr/>
          </p:nvSpPr>
          <p:spPr bwMode="auto">
            <a:xfrm>
              <a:off x="683589" y="3785019"/>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sp>
        <p:nvSpPr>
          <p:cNvPr id="13"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2"/>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pPr>
                <a:defRPr/>
              </a:pPr>
              <a:t>‹#›</a:t>
            </a:fld>
            <a:endParaRPr/>
          </a:p>
        </p:txBody>
      </p:sp>
    </p:spTree>
    <p:extLst>
      <p:ext uri="{BB962C8B-B14F-4D97-AF65-F5344CB8AC3E}">
        <p14:creationId xmlns:p14="http://schemas.microsoft.com/office/powerpoint/2010/main" val="26720559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9" y="3483849"/>
            <a:ext cx="2992437" cy="1274009"/>
            <a:chOff x="683589" y="2398279"/>
            <a:chExt cx="3582384" cy="1966187"/>
          </a:xfrm>
        </p:grpSpPr>
        <p:sp>
          <p:nvSpPr>
            <p:cNvPr id="16" name="Parallelogram 15"/>
            <p:cNvSpPr/>
            <p:nvPr/>
          </p:nvSpPr>
          <p:spPr bwMode="auto">
            <a:xfrm>
              <a:off x="733001" y="2398279"/>
              <a:ext cx="3532972" cy="7078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18" name="Group 13"/>
          <p:cNvGrpSpPr>
            <a:grpSpLocks/>
          </p:cNvGrpSpPr>
          <p:nvPr/>
        </p:nvGrpSpPr>
        <p:grpSpPr bwMode="auto">
          <a:xfrm>
            <a:off x="2927351" y="3489407"/>
            <a:ext cx="2992438" cy="1273216"/>
            <a:chOff x="683589" y="2397863"/>
            <a:chExt cx="3582384" cy="1966727"/>
          </a:xfrm>
        </p:grpSpPr>
        <p:sp>
          <p:nvSpPr>
            <p:cNvPr id="19" name="Parallelogram 18"/>
            <p:cNvSpPr/>
            <p:nvPr/>
          </p:nvSpPr>
          <p:spPr bwMode="auto">
            <a:xfrm>
              <a:off x="733001" y="2397863"/>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0" name="Parallelogram 19"/>
            <p:cNvSpPr/>
            <p:nvPr/>
          </p:nvSpPr>
          <p:spPr bwMode="auto">
            <a:xfrm>
              <a:off x="683589" y="3650632"/>
              <a:ext cx="3164281"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1" name="Group 13"/>
          <p:cNvGrpSpPr>
            <a:grpSpLocks/>
          </p:cNvGrpSpPr>
          <p:nvPr/>
        </p:nvGrpSpPr>
        <p:grpSpPr bwMode="auto">
          <a:xfrm>
            <a:off x="157164" y="3489407"/>
            <a:ext cx="2994025" cy="1273216"/>
            <a:chOff x="683589" y="2397863"/>
            <a:chExt cx="3582384" cy="1966727"/>
          </a:xfrm>
        </p:grpSpPr>
        <p:sp>
          <p:nvSpPr>
            <p:cNvPr id="22" name="Parallelogram 21"/>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3" name="Parallelogram 22"/>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4" name="Group 13"/>
          <p:cNvGrpSpPr>
            <a:grpSpLocks/>
          </p:cNvGrpSpPr>
          <p:nvPr/>
        </p:nvGrpSpPr>
        <p:grpSpPr bwMode="auto">
          <a:xfrm>
            <a:off x="5913439" y="1691562"/>
            <a:ext cx="2994025" cy="1274008"/>
            <a:chOff x="683589" y="2398279"/>
            <a:chExt cx="3582384" cy="1966186"/>
          </a:xfrm>
        </p:grpSpPr>
        <p:sp>
          <p:nvSpPr>
            <p:cNvPr id="25" name="Parallelogram 24"/>
            <p:cNvSpPr/>
            <p:nvPr/>
          </p:nvSpPr>
          <p:spPr bwMode="auto">
            <a:xfrm>
              <a:off x="732975" y="2398279"/>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6" name="Parallelogram 25"/>
            <p:cNvSpPr/>
            <p:nvPr/>
          </p:nvSpPr>
          <p:spPr bwMode="auto">
            <a:xfrm>
              <a:off x="683589" y="3651147"/>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27" name="Group 13"/>
          <p:cNvGrpSpPr>
            <a:grpSpLocks/>
          </p:cNvGrpSpPr>
          <p:nvPr/>
        </p:nvGrpSpPr>
        <p:grpSpPr bwMode="auto">
          <a:xfrm>
            <a:off x="3143251" y="1697120"/>
            <a:ext cx="2994025" cy="1273216"/>
            <a:chOff x="683589" y="2397863"/>
            <a:chExt cx="3582384" cy="1966727"/>
          </a:xfrm>
        </p:grpSpPr>
        <p:sp>
          <p:nvSpPr>
            <p:cNvPr id="28" name="Parallelogram 27"/>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29" name="Parallelogram 28"/>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grpSp>
        <p:nvGrpSpPr>
          <p:cNvPr id="30" name="Group 13"/>
          <p:cNvGrpSpPr>
            <a:grpSpLocks/>
          </p:cNvGrpSpPr>
          <p:nvPr/>
        </p:nvGrpSpPr>
        <p:grpSpPr bwMode="auto">
          <a:xfrm>
            <a:off x="373064" y="1697120"/>
            <a:ext cx="2994025" cy="1273216"/>
            <a:chOff x="683589" y="2397863"/>
            <a:chExt cx="3582384" cy="1966727"/>
          </a:xfrm>
        </p:grpSpPr>
        <p:sp>
          <p:nvSpPr>
            <p:cNvPr id="31" name="Parallelogram 30"/>
            <p:cNvSpPr/>
            <p:nvPr/>
          </p:nvSpPr>
          <p:spPr bwMode="auto">
            <a:xfrm>
              <a:off x="732975" y="2397863"/>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32" name="Parallelogram 31"/>
            <p:cNvSpPr/>
            <p:nvPr/>
          </p:nvSpPr>
          <p:spPr bwMode="auto">
            <a:xfrm>
              <a:off x="683589" y="3650632"/>
              <a:ext cx="3164503" cy="71395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grpSp>
      <p:sp>
        <p:nvSpPr>
          <p:cNvPr id="33"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8"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4"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pPr>
                <a:defRPr/>
              </a:pPr>
              <a:t>‹#›</a:t>
            </a:fld>
            <a:endParaRPr/>
          </a:p>
        </p:txBody>
      </p:sp>
    </p:spTree>
    <p:extLst>
      <p:ext uri="{BB962C8B-B14F-4D97-AF65-F5344CB8AC3E}">
        <p14:creationId xmlns:p14="http://schemas.microsoft.com/office/powerpoint/2010/main" val="358725029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68730757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69844961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
        <p:nvSpPr>
          <p:cNvPr id="6" name="Rectangle 3"/>
          <p:cNvSpPr>
            <a:spLocks noGrp="1" noChangeArrowheads="1"/>
          </p:cNvSpPr>
          <p:nvPr>
            <p:ph idx="4294967295"/>
          </p:nvPr>
        </p:nvSpPr>
        <p:spPr>
          <a:xfrm>
            <a:off x="468314"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2" y="126933"/>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6173972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r>
              <a:rPr lang="de-DE" altLang="en-US" err="1"/>
              <a:t>You</a:t>
            </a:r>
            <a:r>
              <a:rPr lang="de-DE" altLang="en-US"/>
              <a:t> </a:t>
            </a:r>
            <a:r>
              <a:rPr lang="de-DE" altLang="en-US" err="1"/>
              <a:t>can</a:t>
            </a:r>
            <a:r>
              <a:rPr lang="de-DE" altLang="en-US"/>
              <a:t> </a:t>
            </a:r>
            <a:r>
              <a:rPr lang="de-DE" altLang="en-US" err="1"/>
              <a:t>easily</a:t>
            </a:r>
            <a:r>
              <a:rPr lang="de-DE" altLang="en-US"/>
              <a:t> </a:t>
            </a:r>
            <a:r>
              <a:rPr lang="de-DE" altLang="en-US" err="1"/>
              <a:t>re-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following</a:t>
            </a:r>
            <a:r>
              <a:rPr lang="de-DE" altLang="en-US"/>
              <a:t> </a:t>
            </a:r>
            <a:r>
              <a:rPr lang="de-DE" altLang="en-US" err="1"/>
              <a:t>slides</a:t>
            </a:r>
            <a:r>
              <a:rPr lang="de-DE" altLang="en-US"/>
              <a:t> </a:t>
            </a:r>
            <a:r>
              <a:rPr lang="de-DE" altLang="en-US" err="1"/>
              <a:t>to</a:t>
            </a:r>
            <a:r>
              <a:rPr lang="de-DE" altLang="en-US"/>
              <a:t> </a:t>
            </a:r>
            <a:r>
              <a:rPr lang="de-DE" altLang="en-US" err="1"/>
              <a:t>create</a:t>
            </a:r>
            <a:r>
              <a:rPr lang="de-DE" altLang="en-US"/>
              <a:t> </a:t>
            </a:r>
            <a:r>
              <a:rPr lang="de-DE" altLang="en-US" err="1"/>
              <a:t>your</a:t>
            </a:r>
            <a:r>
              <a:rPr lang="de-DE" altLang="en-US"/>
              <a:t> </a:t>
            </a:r>
            <a:r>
              <a:rPr lang="de-DE" altLang="en-US" err="1"/>
              <a:t>own</a:t>
            </a:r>
            <a:r>
              <a:rPr lang="de-DE" altLang="en-US"/>
              <a:t> </a:t>
            </a:r>
            <a:r>
              <a:rPr lang="de-DE" altLang="en-US" err="1"/>
              <a:t>presentation</a:t>
            </a:r>
            <a:r>
              <a:rPr lang="de-DE" altLang="en-US"/>
              <a:t>.</a:t>
            </a:r>
          </a:p>
          <a:p>
            <a:r>
              <a:rPr lang="de-DE" altLang="en-US" err="1"/>
              <a:t>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pre-defined</a:t>
            </a:r>
            <a:r>
              <a:rPr lang="de-DE" altLang="en-US"/>
              <a:t> </a:t>
            </a:r>
            <a:r>
              <a:rPr lang="de-DE" altLang="en-US" err="1"/>
              <a:t>chart</a:t>
            </a:r>
            <a:r>
              <a:rPr lang="de-DE" altLang="en-US"/>
              <a:t> </a:t>
            </a:r>
            <a:r>
              <a:rPr lang="de-DE" altLang="en-US" err="1"/>
              <a:t>templates</a:t>
            </a:r>
            <a:r>
              <a:rPr lang="de-DE" altLang="en-US"/>
              <a:t> </a:t>
            </a:r>
            <a:r>
              <a:rPr lang="de-DE" altLang="en-US" err="1"/>
              <a:t>to</a:t>
            </a:r>
            <a:r>
              <a:rPr lang="de-DE" altLang="en-US"/>
              <a:t> </a:t>
            </a:r>
            <a:r>
              <a:rPr lang="de-DE" altLang="en-US" err="1"/>
              <a:t>quickly</a:t>
            </a:r>
            <a:r>
              <a:rPr lang="de-DE" altLang="en-US"/>
              <a:t> </a:t>
            </a:r>
            <a:r>
              <a:rPr lang="de-DE" altLang="en-US" err="1"/>
              <a:t>create</a:t>
            </a:r>
            <a:r>
              <a:rPr lang="de-DE" altLang="en-US"/>
              <a:t> a ECB-</a:t>
            </a:r>
            <a:r>
              <a:rPr lang="de-DE" altLang="en-US" err="1"/>
              <a:t>styled</a:t>
            </a:r>
            <a:r>
              <a:rPr lang="de-DE" altLang="en-US"/>
              <a:t> </a:t>
            </a:r>
            <a:r>
              <a:rPr lang="de-DE" altLang="en-US" err="1"/>
              <a:t>chart</a:t>
            </a:r>
            <a:r>
              <a:rPr lang="de-DE" altLang="en-US"/>
              <a:t> </a:t>
            </a:r>
            <a:r>
              <a:rPr lang="de-DE" altLang="en-US" err="1"/>
              <a:t>of</a:t>
            </a:r>
            <a:r>
              <a:rPr lang="de-DE" altLang="en-US"/>
              <a:t> </a:t>
            </a:r>
            <a:r>
              <a:rPr lang="de-DE" altLang="en-US" err="1"/>
              <a:t>various</a:t>
            </a:r>
            <a:r>
              <a:rPr lang="de-DE" altLang="en-US"/>
              <a:t> </a:t>
            </a:r>
            <a:r>
              <a:rPr lang="de-DE" altLang="en-US" err="1"/>
              <a:t>types</a:t>
            </a:r>
            <a:endParaRPr lang="en-GB" altLang="en-US"/>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64721815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sz="1800">
              <a:latin typeface="Arial" charset="0"/>
              <a:ea typeface="ヒラギノ角ゴ Pro W3" pitchFamily="-64" charset="-128"/>
            </a:endParaRPr>
          </a:p>
        </p:txBody>
      </p:sp>
      <p:sp>
        <p:nvSpPr>
          <p:cNvPr id="5"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pPr>
                <a:defRPr/>
              </a:pPr>
              <a:t>‹#›</a:t>
            </a:fld>
            <a:endParaRPr/>
          </a:p>
        </p:txBody>
      </p:sp>
    </p:spTree>
    <p:extLst>
      <p:ext uri="{BB962C8B-B14F-4D97-AF65-F5344CB8AC3E}">
        <p14:creationId xmlns:p14="http://schemas.microsoft.com/office/powerpoint/2010/main" val="330613329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pPr>
                <a:defRPr/>
              </a:pPr>
              <a:t>‹#›</a:t>
            </a:fld>
            <a:endParaRPr/>
          </a:p>
        </p:txBody>
      </p:sp>
    </p:spTree>
    <p:extLst>
      <p:ext uri="{BB962C8B-B14F-4D97-AF65-F5344CB8AC3E}">
        <p14:creationId xmlns:p14="http://schemas.microsoft.com/office/powerpoint/2010/main" val="417135395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3"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1" y="1107036"/>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pPr>
                <a:defRPr/>
              </a:pPr>
              <a:t>‹#›</a:t>
            </a:fld>
            <a:endParaRPr/>
          </a:p>
        </p:txBody>
      </p:sp>
    </p:spTree>
    <p:extLst>
      <p:ext uri="{BB962C8B-B14F-4D97-AF65-F5344CB8AC3E}">
        <p14:creationId xmlns:p14="http://schemas.microsoft.com/office/powerpoint/2010/main" val="255216601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pPr>
                <a:defRPr/>
              </a:pPr>
              <a:t>‹#›</a:t>
            </a:fld>
            <a:endParaRPr/>
          </a:p>
        </p:txBody>
      </p:sp>
    </p:spTree>
    <p:extLst>
      <p:ext uri="{BB962C8B-B14F-4D97-AF65-F5344CB8AC3E}">
        <p14:creationId xmlns:p14="http://schemas.microsoft.com/office/powerpoint/2010/main" val="23772090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950147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1110560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616505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lvl1pPr>
          </a:lstStyle>
          <a:p>
            <a:endParaRPr lang="en-GB" altLang="en-US"/>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441211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pPr>
                <a:defRPr/>
              </a:pPr>
              <a:t>‹#›</a:t>
            </a:fld>
            <a:endParaRPr/>
          </a:p>
        </p:txBody>
      </p:sp>
    </p:spTree>
    <p:extLst>
      <p:ext uri="{BB962C8B-B14F-4D97-AF65-F5344CB8AC3E}">
        <p14:creationId xmlns:p14="http://schemas.microsoft.com/office/powerpoint/2010/main" val="297625902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a:p>
        </p:txBody>
      </p:sp>
      <p:sp>
        <p:nvSpPr>
          <p:cNvPr id="18" name="Title 2"/>
          <p:cNvSpPr>
            <a:spLocks noGrp="1"/>
          </p:cNvSpPr>
          <p:nvPr>
            <p:ph type="ctrTitle"/>
          </p:nvPr>
        </p:nvSpPr>
        <p:spPr>
          <a:xfrm>
            <a:off x="468315" y="1653780"/>
            <a:ext cx="3024187" cy="1458515"/>
          </a:xfrm>
        </p:spPr>
        <p:txBody>
          <a:bodyPr/>
          <a:lstStyle>
            <a:lvl1pPr>
              <a:lnSpc>
                <a:spcPts val="3500"/>
              </a:lnSpc>
              <a:defRPr sz="3200"/>
            </a:lvl1pPr>
          </a:lstStyle>
          <a:p>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8725621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a:solidFill>
                    <a:srgbClr val="585858"/>
                  </a:solidFill>
                </a:rPr>
                <a:t>SSM and SupTech (Lukasz slides x 2) Sertac presentation</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2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0781505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18807800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7558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9831990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339284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4" y="1222376"/>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Rectangle 4"/>
          <p:cNvSpPr>
            <a:spLocks noGrp="1" noChangeArrowheads="1"/>
          </p:cNvSpPr>
          <p:nvPr>
            <p:ph type="title"/>
          </p:nvPr>
        </p:nvSpPr>
        <p:spPr>
          <a:xfrm>
            <a:off x="463552" y="410400"/>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1639876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4851369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a:p>
        </p:txBody>
      </p:sp>
      <p:sp>
        <p:nvSpPr>
          <p:cNvPr id="14"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292934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405705669"/>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pPr>
                <a:defRPr/>
              </a:pPr>
              <a:t>‹#›</a:t>
            </a:fld>
            <a:endParaRPr/>
          </a:p>
        </p:txBody>
      </p:sp>
    </p:spTree>
    <p:extLst>
      <p:ext uri="{BB962C8B-B14F-4D97-AF65-F5344CB8AC3E}">
        <p14:creationId xmlns:p14="http://schemas.microsoft.com/office/powerpoint/2010/main" val="42350206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8"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0059205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4443598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900"/>
            </a:lvl1pPr>
          </a:lstStyle>
          <a:p>
            <a:r>
              <a:rPr lang="en-GB" altLang="en-US"/>
              <a:t>Statistical statement of the economic transactions of an economy with the rest of the world in a specific time period</a:t>
            </a:r>
          </a:p>
          <a:p>
            <a:r>
              <a:rPr lang="en-GB" altLang="en-US"/>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2213166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err="1"/>
              <a:t>You</a:t>
            </a:r>
            <a:r>
              <a:rPr lang="de-DE" altLang="en-US"/>
              <a:t> </a:t>
            </a:r>
            <a:r>
              <a:rPr lang="de-DE" altLang="en-US" err="1"/>
              <a:t>can</a:t>
            </a:r>
            <a:r>
              <a:rPr lang="de-DE" altLang="en-US"/>
              <a:t> </a:t>
            </a:r>
            <a:r>
              <a:rPr lang="de-DE" altLang="en-US" err="1"/>
              <a:t>easily</a:t>
            </a:r>
            <a:r>
              <a:rPr lang="de-DE" altLang="en-US"/>
              <a:t> </a:t>
            </a:r>
            <a:r>
              <a:rPr lang="de-DE" altLang="en-US" err="1"/>
              <a:t>re-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following</a:t>
            </a:r>
            <a:r>
              <a:rPr lang="de-DE" altLang="en-US"/>
              <a:t> </a:t>
            </a:r>
            <a:r>
              <a:rPr lang="de-DE" altLang="en-US" err="1"/>
              <a:t>slides</a:t>
            </a:r>
            <a:r>
              <a:rPr lang="de-DE" altLang="en-US"/>
              <a:t> </a:t>
            </a:r>
            <a:r>
              <a:rPr lang="de-DE" altLang="en-US" err="1"/>
              <a:t>to</a:t>
            </a:r>
            <a:r>
              <a:rPr lang="de-DE" altLang="en-US"/>
              <a:t> </a:t>
            </a:r>
            <a:r>
              <a:rPr lang="de-DE" altLang="en-US" err="1"/>
              <a:t>create</a:t>
            </a:r>
            <a:r>
              <a:rPr lang="de-DE" altLang="en-US"/>
              <a:t> </a:t>
            </a:r>
            <a:r>
              <a:rPr lang="de-DE" altLang="en-US" err="1"/>
              <a:t>your</a:t>
            </a:r>
            <a:r>
              <a:rPr lang="de-DE" altLang="en-US"/>
              <a:t> </a:t>
            </a:r>
            <a:r>
              <a:rPr lang="de-DE" altLang="en-US" err="1"/>
              <a:t>own</a:t>
            </a:r>
            <a:r>
              <a:rPr lang="de-DE" altLang="en-US"/>
              <a:t> </a:t>
            </a:r>
            <a:r>
              <a:rPr lang="de-DE" altLang="en-US" err="1"/>
              <a:t>presentation</a:t>
            </a:r>
            <a:r>
              <a:rPr lang="de-DE" altLang="en-US"/>
              <a:t>.</a:t>
            </a:r>
          </a:p>
          <a:p>
            <a:r>
              <a:rPr lang="de-DE" altLang="en-US" err="1"/>
              <a:t>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pre-defined</a:t>
            </a:r>
            <a:r>
              <a:rPr lang="de-DE" altLang="en-US"/>
              <a:t> </a:t>
            </a:r>
            <a:r>
              <a:rPr lang="de-DE" altLang="en-US" err="1"/>
              <a:t>chart</a:t>
            </a:r>
            <a:r>
              <a:rPr lang="de-DE" altLang="en-US"/>
              <a:t> </a:t>
            </a:r>
            <a:r>
              <a:rPr lang="de-DE" altLang="en-US" err="1"/>
              <a:t>templates</a:t>
            </a:r>
            <a:r>
              <a:rPr lang="de-DE" altLang="en-US"/>
              <a:t> </a:t>
            </a:r>
            <a:r>
              <a:rPr lang="de-DE" altLang="en-US" err="1"/>
              <a:t>to</a:t>
            </a:r>
            <a:r>
              <a:rPr lang="de-DE" altLang="en-US"/>
              <a:t> </a:t>
            </a:r>
            <a:r>
              <a:rPr lang="de-DE" altLang="en-US" err="1"/>
              <a:t>quickly</a:t>
            </a:r>
            <a:r>
              <a:rPr lang="de-DE" altLang="en-US"/>
              <a:t> </a:t>
            </a:r>
            <a:r>
              <a:rPr lang="de-DE" altLang="en-US" err="1"/>
              <a:t>create</a:t>
            </a:r>
            <a:r>
              <a:rPr lang="de-DE" altLang="en-US"/>
              <a:t> a ECB-</a:t>
            </a:r>
            <a:r>
              <a:rPr lang="de-DE" altLang="en-US" err="1"/>
              <a:t>styled</a:t>
            </a:r>
            <a:r>
              <a:rPr lang="de-DE" altLang="en-US"/>
              <a:t> </a:t>
            </a:r>
            <a:r>
              <a:rPr lang="de-DE" altLang="en-US" err="1"/>
              <a:t>chart</a:t>
            </a:r>
            <a:r>
              <a:rPr lang="de-DE" altLang="en-US"/>
              <a:t> </a:t>
            </a:r>
            <a:r>
              <a:rPr lang="de-DE" altLang="en-US" err="1"/>
              <a:t>of</a:t>
            </a:r>
            <a:r>
              <a:rPr lang="de-DE" altLang="en-US"/>
              <a:t> </a:t>
            </a:r>
            <a:r>
              <a:rPr lang="de-DE" altLang="en-US" err="1"/>
              <a:t>various</a:t>
            </a:r>
            <a:r>
              <a:rPr lang="de-DE" altLang="en-US"/>
              <a:t> </a:t>
            </a:r>
            <a:r>
              <a:rPr lang="de-DE" altLang="en-US" err="1"/>
              <a:t>types</a:t>
            </a:r>
            <a:endParaRPr lang="en-GB" altLang="en-US"/>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464552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6138116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3"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86159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2" y="411957"/>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4220454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pic>
        <p:nvPicPr>
          <p:cNvPr id="8"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a:t>Click icon to add picture</a:t>
            </a:r>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smtClean="0">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2353796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8" name="Rectangle 7"/>
          <p:cNvSpPr>
            <a:spLocks noChangeArrowheads="1"/>
          </p:cNvSpPr>
          <p:nvPr/>
        </p:nvSpPr>
        <p:spPr bwMode="auto">
          <a:xfrm>
            <a:off x="0" y="0"/>
            <a:ext cx="9144000" cy="5143500"/>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sp>
        <p:nvSpPr>
          <p:cNvPr id="11" name="Rectangle 1"/>
          <p:cNvSpPr>
            <a:spLocks noChangeArrowheads="1"/>
          </p:cNvSpPr>
          <p:nvPr/>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8313" y="344488"/>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12605735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efinition of </a:t>
              </a:r>
              <a:r>
                <a:rPr lang="en-GB" altLang="en-US" sz="1800" err="1">
                  <a:solidFill>
                    <a:srgbClr val="585858"/>
                  </a:solidFill>
                </a:rPr>
                <a:t>b.o.p</a:t>
              </a:r>
              <a:r>
                <a:rPr lang="en-GB" altLang="en-US" sz="1800">
                  <a:solidFill>
                    <a:srgbClr val="585858"/>
                  </a:solidFill>
                </a:rPr>
                <a:t>. and </a:t>
              </a:r>
              <a:r>
                <a:rPr lang="en-GB" altLang="en-US" sz="1800" err="1">
                  <a:solidFill>
                    <a:srgbClr val="585858"/>
                  </a:solidFill>
                </a:rPr>
                <a:t>i.i.p</a:t>
              </a:r>
              <a:r>
                <a:rPr lang="en-GB" altLang="en-US" sz="180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684449B-C00A-4182-B18B-5846710ED83D}"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8726855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a:solidFill>
                <a:schemeClr val="bg1"/>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pPr>
                <a:defRPr/>
              </a:pPr>
              <a:t>‹#›</a:t>
            </a:fld>
            <a:endParaRPr/>
          </a:p>
        </p:txBody>
      </p:sp>
    </p:spTree>
    <p:extLst>
      <p:ext uri="{BB962C8B-B14F-4D97-AF65-F5344CB8AC3E}">
        <p14:creationId xmlns:p14="http://schemas.microsoft.com/office/powerpoint/2010/main" val="8928000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D21CD0E-9D00-442C-8168-621C09C39F4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256866947"/>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1"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0"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E1FFB45-21AE-437B-9FCA-54A78641C8E9}"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9943891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3975"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Rectangle 1"/>
          <p:cNvSpPr>
            <a:spLocks noChangeArrowheads="1"/>
          </p:cNvSpPr>
          <p:nvPr/>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30000"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57DE999-06AE-4652-B9A2-D7452E8F4B8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35947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42559227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9831790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2936133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a:solidFill>
                <a:srgbClr val="585858"/>
              </a:solidFill>
            </a:endParaRPr>
          </a:p>
        </p:txBody>
      </p:sp>
      <p:sp>
        <p:nvSpPr>
          <p:cNvPr id="7"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0DA3C42-660F-4070-8F99-4723B647437B}"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308649401"/>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A72E3F-5303-46E1-A186-FC1E3B29EC1E}"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4298158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8FEA1CF-1579-45EC-9E56-EF15D56DBEB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6159863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856001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185B3DB-A46E-467F-ADDF-6A8B3C6D3B81}" type="slidenum">
              <a:rPr/>
              <a:pPr>
                <a:defRPr/>
              </a:pPr>
              <a:t>‹#›</a:t>
            </a:fld>
            <a:endParaRPr/>
          </a:p>
        </p:txBody>
      </p:sp>
    </p:spTree>
    <p:extLst>
      <p:ext uri="{BB962C8B-B14F-4D97-AF65-F5344CB8AC3E}">
        <p14:creationId xmlns:p14="http://schemas.microsoft.com/office/powerpoint/2010/main" val="7018956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0633521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a:solidFill>
                <a:srgbClr val="FFFFFF"/>
              </a:solidFill>
            </a:endParaRPr>
          </a:p>
        </p:txBody>
      </p:sp>
      <p:sp>
        <p:nvSpPr>
          <p:cNvPr id="6"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7"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7130220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01E872-82FC-4C8E-B2FB-E6194C1B3A8B}"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732949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Rectangle 6"/>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D54B54B-21A5-4A81-9DBB-E8A2D9055AC6}"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4418332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2C3178D-8C02-4270-AEB6-2C0BB55496F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8879185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331468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D074FCB-58C1-4095-8B58-9DEF061B80C0}"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26082928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61300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pic>
        <p:nvPicPr>
          <p:cNvPr id="8"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a:p>
        </p:txBody>
      </p:sp>
      <p:sp>
        <p:nvSpPr>
          <p:cNvPr id="14"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a:t>Click to edit Master subtitle style</a:t>
            </a:r>
            <a:endParaRPr lang="en-GB" altLang="en-US"/>
          </a:p>
        </p:txBody>
      </p:sp>
      <p:sp>
        <p:nvSpPr>
          <p:cNvPr id="16"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4"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108543540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565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50133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8" name="Rectangle 7"/>
          <p:cNvSpPr>
            <a:spLocks noChangeArrowheads="1"/>
          </p:cNvSpPr>
          <p:nvPr userDrawn="1"/>
        </p:nvSpPr>
        <p:spPr bwMode="auto">
          <a:xfrm>
            <a:off x="0" y="2387085"/>
            <a:ext cx="9144000" cy="369332"/>
          </a:xfrm>
          <a:prstGeom prst="rect">
            <a:avLst/>
          </a:prstGeom>
          <a:solidFill>
            <a:srgbClr val="1B7D7D"/>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9"/>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344488"/>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5" y="3233738"/>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1"/>
                </a:solidFill>
              </a:defRPr>
            </a:lvl1pPr>
          </a:lstStyle>
          <a:p>
            <a:pPr lvl="0"/>
            <a:r>
              <a:rPr lang="en-US" altLang="en-US"/>
              <a:t>Click to edit Master subtitle style</a:t>
            </a:r>
            <a:endParaRPr lang="en-GB" altLang="en-US"/>
          </a:p>
        </p:txBody>
      </p:sp>
      <p:sp>
        <p:nvSpPr>
          <p:cNvPr id="17" name="Text Placeholder 7"/>
          <p:cNvSpPr>
            <a:spLocks noGrp="1"/>
          </p:cNvSpPr>
          <p:nvPr>
            <p:ph type="body" sz="quarter" idx="4294967295"/>
          </p:nvPr>
        </p:nvSpPr>
        <p:spPr>
          <a:xfrm>
            <a:off x="3600450" y="4407695"/>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6" y="1638300"/>
            <a:ext cx="4297363" cy="2457450"/>
          </a:xfrm>
        </p:spPr>
        <p:txBody>
          <a:bodyPr/>
          <a:lstStyle>
            <a:lvl1pPr marL="0" indent="0">
              <a:buNone/>
              <a:defRPr sz="2000">
                <a:solidFill>
                  <a:schemeClr val="bg1">
                    <a:lumMod val="95000"/>
                  </a:schemeClr>
                </a:solidFill>
              </a:defRPr>
            </a:lvl1pPr>
          </a:lstStyle>
          <a:p>
            <a:pPr lvl="0"/>
            <a:endParaRPr lang="en-GB"/>
          </a:p>
        </p:txBody>
      </p:sp>
      <p:sp>
        <p:nvSpPr>
          <p:cNvPr id="18" name="Title 2"/>
          <p:cNvSpPr>
            <a:spLocks noGrp="1"/>
          </p:cNvSpPr>
          <p:nvPr>
            <p:ph type="ctrTitle"/>
          </p:nvPr>
        </p:nvSpPr>
        <p:spPr>
          <a:xfrm>
            <a:off x="468315" y="1653780"/>
            <a:ext cx="3024187" cy="1458515"/>
          </a:xfrm>
        </p:spPr>
        <p:txBody>
          <a:bodyPr/>
          <a:lstStyle>
            <a:lvl1pPr>
              <a:lnSpc>
                <a:spcPts val="3500"/>
              </a:lnSpc>
              <a:defRPr sz="3200">
                <a:solidFill>
                  <a:schemeClr val="accent4"/>
                </a:solidFill>
              </a:defRPr>
            </a:lvl1pPr>
          </a:lstStyle>
          <a:p>
            <a:endParaRPr lang="en-GB" altLang="en-US"/>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3"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Tree>
    <p:extLst>
      <p:ext uri="{BB962C8B-B14F-4D97-AF65-F5344CB8AC3E}">
        <p14:creationId xmlns:p14="http://schemas.microsoft.com/office/powerpoint/2010/main" val="30770499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9"/>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2713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6" imgH="416" progId="TCLayout.ActiveDocument.1">
                  <p:embed/>
                </p:oleObj>
              </mc:Choice>
              <mc:Fallback>
                <p:oleObj name="think-cell Slide" r:id="rId20" imgW="416" imgH="416"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2"/>
              </p:custDataLst>
            </p:nvPr>
          </p:nvSpPr>
          <p:spPr bwMode="auto">
            <a:xfrm>
              <a:off x="318484" y="14890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3"/>
              </p:custDataLst>
            </p:nvPr>
          </p:nvSpPr>
          <p:spPr bwMode="auto">
            <a:xfrm>
              <a:off x="318484" y="19462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4"/>
              </p:custDataLst>
            </p:nvPr>
          </p:nvSpPr>
          <p:spPr bwMode="auto">
            <a:xfrm>
              <a:off x="318484" y="2403475"/>
              <a:ext cx="382452"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5"/>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6"/>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7"/>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buClr>
                  <a:srgbClr val="003399"/>
                </a:buClr>
                <a:buFontTx/>
                <a:buNone/>
              </a:pPr>
              <a:r>
                <a:rPr lang="en-GB" sz="1800">
                  <a:solidFill>
                    <a:srgbClr val="585858"/>
                  </a:solidFill>
                </a:rPr>
                <a:t>SSM and SupTech (Lukasz slides x 2) Sertac presentation</a:t>
              </a:r>
            </a:p>
          </p:txBody>
        </p:sp>
        <p:sp>
          <p:nvSpPr>
            <p:cNvPr id="10" name="Rectangle 9"/>
            <p:cNvSpPr>
              <a:spLocks noChangeArrowheads="1"/>
            </p:cNvSpPr>
            <p:nvPr>
              <p:custDataLst>
                <p:tags r:id="rId8"/>
              </p:custDataLst>
            </p:nvPr>
          </p:nvSpPr>
          <p:spPr bwMode="auto">
            <a:xfrm>
              <a:off x="318484" y="28712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9"/>
              </p:custDataLst>
            </p:nvPr>
          </p:nvSpPr>
          <p:spPr bwMode="auto">
            <a:xfrm>
              <a:off x="318484" y="33284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10"/>
              </p:custDataLst>
            </p:nvPr>
          </p:nvSpPr>
          <p:spPr bwMode="auto">
            <a:xfrm>
              <a:off x="318484" y="3785658"/>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1"/>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2"/>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3"/>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4"/>
              </p:custDataLst>
            </p:nvPr>
          </p:nvSpPr>
          <p:spPr bwMode="auto">
            <a:xfrm>
              <a:off x="318484" y="42322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5"/>
              </p:custDataLst>
            </p:nvPr>
          </p:nvSpPr>
          <p:spPr bwMode="auto">
            <a:xfrm>
              <a:off x="318484" y="4689475"/>
              <a:ext cx="380760" cy="381000"/>
            </a:xfrm>
            <a:prstGeom prst="rect">
              <a:avLst/>
            </a:prstGeom>
            <a:solidFill>
              <a:srgbClr val="1B7D7D"/>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6"/>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7"/>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0"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21"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3B2041B-4E54-4E63-B2C2-7A314999319C}" type="slidenum">
              <a:rPr>
                <a:solidFill>
                  <a:srgbClr val="FFFFFF"/>
                </a:solidFill>
              </a:rPr>
              <a:pPr>
                <a:defRPr/>
              </a:pPr>
              <a:t>‹#›</a:t>
            </a:fld>
            <a:endParaRPr>
              <a:solidFill>
                <a:srgbClr val="FFFFFF"/>
              </a:solidFill>
            </a:endParaRPr>
          </a:p>
        </p:txBody>
      </p:sp>
      <p:sp>
        <p:nvSpPr>
          <p:cNvPr id="23"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139105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6" name="Rectangle 5"/>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3B1D6C-86D7-491C-BFBC-3468D59ED735}" type="slidenum">
              <a:rPr/>
              <a:pPr>
                <a:defRPr/>
              </a:pPr>
              <a:t>‹#›</a:t>
            </a:fld>
            <a:endParaRPr/>
          </a:p>
        </p:txBody>
      </p:sp>
    </p:spTree>
    <p:extLst>
      <p:ext uri="{BB962C8B-B14F-4D97-AF65-F5344CB8AC3E}">
        <p14:creationId xmlns:p14="http://schemas.microsoft.com/office/powerpoint/2010/main" val="28991850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Main layout - Fu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0470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3"/>
          <p:cNvSpPr txBox="1">
            <a:spLocks noChangeArrowheads="1"/>
          </p:cNvSpPr>
          <p:nvPr userDrawn="1"/>
        </p:nvSpPr>
        <p:spPr bwMode="auto">
          <a:xfrm>
            <a:off x="468312" y="1203325"/>
            <a:ext cx="8308627"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D5514F-8531-4BCD-9054-1D079C5CBE95}" type="slidenum">
              <a:rPr>
                <a:solidFill>
                  <a:srgbClr val="FFFFFF"/>
                </a:solidFill>
              </a:rPr>
              <a:pPr>
                <a:defRPr/>
              </a:pPr>
              <a:t>‹#›</a:t>
            </a:fld>
            <a:endParaRPr>
              <a:solidFill>
                <a:srgbClr val="FFFFFF"/>
              </a:solidFill>
            </a:endParaRPr>
          </a:p>
        </p:txBody>
      </p:sp>
      <p:sp>
        <p:nvSpPr>
          <p:cNvPr id="7"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ECB-RESTRICTED</a:t>
            </a:r>
          </a:p>
        </p:txBody>
      </p:sp>
      <p:sp>
        <p:nvSpPr>
          <p:cNvPr id="9" name="Rectangle 4"/>
          <p:cNvSpPr>
            <a:spLocks noGrp="1" noChangeArrowheads="1"/>
          </p:cNvSpPr>
          <p:nvPr>
            <p:ph type="title"/>
          </p:nvPr>
        </p:nvSpPr>
        <p:spPr>
          <a:xfrm>
            <a:off x="463551" y="339502"/>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tx2"/>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28198097"/>
      </p:ext>
    </p:extLst>
  </p:cSld>
  <p:clrMapOvr>
    <a:masterClrMapping/>
  </p:clrMapOvr>
  <p:extLst>
    <p:ext uri="{DCECCB84-F9BA-43D5-87BE-67443E8EF086}">
      <p15:sldGuideLst xmlns:p15="http://schemas.microsoft.com/office/powerpoint/2012/main">
        <p15:guide id="1" pos="5511">
          <p15:clr>
            <a:srgbClr val="FBAE40"/>
          </p15:clr>
        </p15:guide>
        <p15:guide id="2" pos="295">
          <p15:clr>
            <a:srgbClr val="FBAE40"/>
          </p15:clr>
        </p15:guide>
        <p15:guide id="3" orient="horz" pos="758">
          <p15:clr>
            <a:srgbClr val="FBAE40"/>
          </p15:clr>
        </p15:guide>
        <p15:guide id="4" orient="horz" pos="284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evider_Pictur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9144000" cy="5143500"/>
          </a:xfrm>
          <a:prstGeom prst="rect">
            <a:avLst/>
          </a:prstGeom>
          <a:solidFill>
            <a:srgbClr val="1B7D7D">
              <a:alpha val="34000"/>
            </a:srgbClr>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a typeface="ヒラギノ角ゴ Pro W3" pitchFamily="-64" charset="-128"/>
            </a:endParaRPr>
          </a:p>
        </p:txBody>
      </p:sp>
      <p:sp>
        <p:nvSpPr>
          <p:cNvPr id="3" name="Rectangle 2"/>
          <p:cNvSpPr/>
          <p:nvPr userDrawn="1"/>
        </p:nvSpPr>
        <p:spPr bwMode="auto">
          <a:xfrm>
            <a:off x="0" y="1208881"/>
            <a:ext cx="9144000" cy="2353470"/>
          </a:xfrm>
          <a:prstGeom prst="rect">
            <a:avLst/>
          </a:prstGeom>
          <a:gradFill flip="none" rotWithShape="1">
            <a:gsLst>
              <a:gs pos="52000">
                <a:schemeClr val="bg1">
                  <a:alpha val="90000"/>
                </a:schemeClr>
              </a:gs>
              <a:gs pos="100000">
                <a:schemeClr val="bg1">
                  <a:alpha val="8000"/>
                </a:schemeClr>
              </a:gs>
              <a:gs pos="91000">
                <a:schemeClr val="bg1">
                  <a:alpha val="75000"/>
                </a:schemeClr>
              </a:gs>
            </a:gsLst>
            <a:lin ang="108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rgbClr val="008080"/>
              </a:solidFill>
              <a:effectLst/>
              <a:latin typeface="Arial" charset="0"/>
              <a:ea typeface="ヒラギノ角ゴ Pro W3" pitchFamily="-64" charset="-128"/>
            </a:endParaRPr>
          </a:p>
        </p:txBody>
      </p:sp>
      <p:sp>
        <p:nvSpPr>
          <p:cNvPr id="7" name="Text Placeholder 17"/>
          <p:cNvSpPr>
            <a:spLocks noGrp="1"/>
          </p:cNvSpPr>
          <p:nvPr>
            <p:ph type="body" sz="quarter" idx="17" hasCustomPrompt="1"/>
          </p:nvPr>
        </p:nvSpPr>
        <p:spPr>
          <a:xfrm>
            <a:off x="299050" y="1054100"/>
            <a:ext cx="1447200" cy="1447200"/>
          </a:xfrm>
          <a:noFill/>
        </p:spPr>
        <p:txBody>
          <a:bodyPr wrap="none" lIns="0" tIns="0" rIns="0" bIns="0" rtlCol="0">
            <a:noAutofit/>
          </a:bodyPr>
          <a:lstStyle>
            <a:lvl1pPr algn="r">
              <a:defRPr lang="en-US" sz="11500" kern="1200" dirty="0">
                <a:ln>
                  <a:solidFill>
                    <a:srgbClr val="1B7D7D"/>
                  </a:solidFill>
                </a:ln>
                <a:solidFill>
                  <a:schemeClr val="bg1"/>
                </a:solidFill>
              </a:defRPr>
            </a:lvl1pPr>
          </a:lstStyle>
          <a:p>
            <a:pPr marL="0" lvl="0" algn="r" defTabSz="914400" latinLnBrk="0"/>
            <a:r>
              <a:rPr lang="en-US"/>
              <a:t>Click to edit</a:t>
            </a:r>
          </a:p>
        </p:txBody>
      </p:sp>
      <p:sp>
        <p:nvSpPr>
          <p:cNvPr id="6" name="Text Placeholder 16"/>
          <p:cNvSpPr>
            <a:spLocks noGrp="1"/>
          </p:cNvSpPr>
          <p:nvPr>
            <p:ph type="body" sz="quarter" idx="13"/>
          </p:nvPr>
        </p:nvSpPr>
        <p:spPr>
          <a:xfrm>
            <a:off x="1447800" y="1674813"/>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3200" b="1" kern="1200" dirty="0" smtClean="0">
                <a:solidFill>
                  <a:srgbClr val="008080"/>
                </a:solidFill>
                <a:latin typeface="Arial" pitchFamily="34" charset="0"/>
                <a:cs typeface="Arial" pitchFamily="34" charset="0"/>
              </a:defRPr>
            </a:lvl1pPr>
          </a:lstStyle>
          <a:p>
            <a:pPr lvl="0"/>
            <a:endParaRPr lang="en-US"/>
          </a:p>
        </p:txBody>
      </p:sp>
      <p:sp>
        <p:nvSpPr>
          <p:cNvPr id="10" name="Text Placeholder 16"/>
          <p:cNvSpPr>
            <a:spLocks noGrp="1"/>
          </p:cNvSpPr>
          <p:nvPr>
            <p:ph type="body" sz="quarter" idx="18"/>
          </p:nvPr>
        </p:nvSpPr>
        <p:spPr>
          <a:xfrm>
            <a:off x="1447800" y="2598995"/>
            <a:ext cx="7239000" cy="896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defRPr lang="en-US" sz="2000" b="0" kern="1200" dirty="0" smtClean="0">
                <a:solidFill>
                  <a:srgbClr val="008080"/>
                </a:solidFill>
                <a:latin typeface="Arial" pitchFamily="34" charset="0"/>
                <a:cs typeface="Arial" pitchFamily="34" charset="0"/>
              </a:defRPr>
            </a:lvl1pPr>
          </a:lstStyle>
          <a:p>
            <a:pPr lvl="0"/>
            <a:endParaRPr lang="en-US"/>
          </a:p>
        </p:txBody>
      </p: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Classification"/>
          <p:cNvSpPr txBox="1">
            <a:spLocks noChangeArrowheads="1"/>
          </p:cNvSpPr>
          <p:nvPr userDrawn="1"/>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ECB-RESTRICTED</a:t>
            </a:r>
          </a:p>
        </p:txBody>
      </p:sp>
    </p:spTree>
    <p:extLst>
      <p:ext uri="{BB962C8B-B14F-4D97-AF65-F5344CB8AC3E}">
        <p14:creationId xmlns:p14="http://schemas.microsoft.com/office/powerpoint/2010/main" val="294957306"/>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pos="288">
          <p15:clr>
            <a:srgbClr val="FBAE40"/>
          </p15:clr>
        </p15:guide>
        <p15:guide id="4" pos="5472">
          <p15:clr>
            <a:srgbClr val="FBAE40"/>
          </p15:clr>
        </p15:guide>
        <p15:guide id="5" orient="horz" pos="277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7414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2" name="Content Placeholder 4"/>
          <p:cNvSpPr>
            <a:spLocks noGrp="1"/>
          </p:cNvSpPr>
          <p:nvPr>
            <p:ph idx="4294967295"/>
          </p:nvPr>
        </p:nvSpPr>
        <p:spPr>
          <a:xfrm>
            <a:off x="4816475" y="2556273"/>
            <a:ext cx="4076700" cy="1851422"/>
          </a:xfrm>
        </p:spPr>
        <p:txBody>
          <a:bodyPr/>
          <a:lstStyle/>
          <a:p>
            <a:endParaRPr lang="en-GB"/>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6AFA717-2143-4680-B180-547339400DFC}" type="slidenum">
              <a:rPr>
                <a:solidFill>
                  <a:srgbClr val="FFFFFF"/>
                </a:solidFill>
              </a:rPr>
              <a:pPr>
                <a:defRPr/>
              </a:pPr>
              <a:t>‹#›</a:t>
            </a:fld>
            <a:endParaRPr>
              <a:solidFill>
                <a:srgbClr val="FFFFFF"/>
              </a:solidFill>
            </a:endParaRPr>
          </a:p>
        </p:txBody>
      </p:sp>
      <p:sp>
        <p:nvSpPr>
          <p:cNvPr id="9"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250174234"/>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9" name="Rectangle 8"/>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1"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0"/>
            <a:ext cx="4620326" cy="5143500"/>
          </a:xfrm>
          <a:custGeom>
            <a:avLst/>
            <a:gdLst/>
            <a:ahLst/>
            <a:cxnLst/>
            <a:rect l="l" t="t" r="r" b="b"/>
            <a:pathLst>
              <a:path w="4620326" h="5143500">
                <a:moveTo>
                  <a:pt x="0" y="0"/>
                </a:moveTo>
                <a:lnTo>
                  <a:pt x="4620326" y="0"/>
                </a:lnTo>
                <a:lnTo>
                  <a:pt x="3183078" y="5143500"/>
                </a:lnTo>
                <a:lnTo>
                  <a:pt x="0" y="5143500"/>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dirty="0" smtClean="0">
                <a:solidFill>
                  <a:schemeClr val="bg1"/>
                </a:solidFill>
                <a:ea typeface="+mj-ea"/>
                <a:cs typeface="+mj-cs"/>
              </a:defRPr>
            </a:lvl1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A98254B-882C-4726-886D-89DE59DCB1F1}"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36349992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4" y="-3175"/>
            <a:ext cx="9197975" cy="514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4"/>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a:solidFill>
                <a:srgbClr val="FFFFFF"/>
              </a:solidFill>
            </a:endParaRPr>
          </a:p>
        </p:txBody>
      </p:sp>
      <p:sp>
        <p:nvSpPr>
          <p:cNvPr id="8" name="Rectangle 12"/>
          <p:cNvSpPr>
            <a:spLocks noChangeArrowheads="1"/>
          </p:cNvSpPr>
          <p:nvPr userDrawn="1">
            <p:custDataLst>
              <p:tags r:id="rId2"/>
            </p:custDataLst>
          </p:nvPr>
        </p:nvSpPr>
        <p:spPr bwMode="auto">
          <a:xfrm>
            <a:off x="4725988" y="3400426"/>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a:solidFill>
                <a:srgbClr val="FFFFFF"/>
              </a:solidFill>
            </a:endParaRPr>
          </a:p>
        </p:txBody>
      </p:sp>
      <p:sp>
        <p:nvSpPr>
          <p:cNvPr id="10" name="Rectangle 1"/>
          <p:cNvSpPr>
            <a:spLocks noChangeArrowheads="1"/>
          </p:cNvSpPr>
          <p:nvPr userDrawn="1"/>
        </p:nvSpPr>
        <p:spPr bwMode="auto">
          <a:xfrm>
            <a:off x="4816475" y="3271323"/>
            <a:ext cx="790575" cy="369332"/>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2387085"/>
            <a:ext cx="4591050" cy="369332"/>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6" y="907257"/>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a:p>
        </p:txBody>
      </p:sp>
      <p:sp>
        <p:nvSpPr>
          <p:cNvPr id="15" name="Text Placeholder 16"/>
          <p:cNvSpPr>
            <a:spLocks noGrp="1"/>
          </p:cNvSpPr>
          <p:nvPr>
            <p:ph type="body" sz="quarter" idx="16"/>
          </p:nvPr>
        </p:nvSpPr>
        <p:spPr>
          <a:xfrm>
            <a:off x="4811713" y="356552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1" y="831851"/>
            <a:ext cx="3881438" cy="4029075"/>
          </a:xfr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nchor="b"/>
          <a:lstStyle>
            <a:lvl1pPr algn="r">
              <a:defRPr lang="en-US" sz="29999" b="1" kern="1200" smtClean="0">
                <a:solidFill>
                  <a:srgbClr val="1B7D7D"/>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a:p>
        </p:txBody>
      </p:sp>
      <p:sp>
        <p:nvSpPr>
          <p:cNvPr id="12"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51F65AB-BBFB-401F-AD2C-CDC12C65E26C}" type="slidenum">
              <a:rPr>
                <a:solidFill>
                  <a:srgbClr val="FFFFFF"/>
                </a:solidFill>
              </a:rPr>
              <a:pPr>
                <a:defRPr/>
              </a:pPr>
              <a:t>‹#›</a:t>
            </a:fld>
            <a:endParaRPr>
              <a:solidFill>
                <a:srgbClr val="FFFFFF"/>
              </a:solidFill>
            </a:endParaRPr>
          </a:p>
        </p:txBody>
      </p:sp>
    </p:spTree>
    <p:extLst>
      <p:ext uri="{BB962C8B-B14F-4D97-AF65-F5344CB8AC3E}">
        <p14:creationId xmlns:p14="http://schemas.microsoft.com/office/powerpoint/2010/main" val="12310465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021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1" y="2731572"/>
            <a:ext cx="8197850" cy="369332"/>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1"/>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6" name="Rectangle 5"/>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4"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7"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557CC8D-8FCD-4769-87F3-910873F63C9C}" type="slidenum">
              <a:rPr>
                <a:solidFill>
                  <a:srgbClr val="FFFFFF"/>
                </a:solidFill>
              </a:rPr>
              <a:pPr>
                <a:defRPr/>
              </a:pPr>
              <a:t>‹#›</a:t>
            </a:fld>
            <a:endParaRPr>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8528407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08014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9" name="Picture Placeholder 8"/>
          <p:cNvSpPr>
            <a:spLocks noGrp="1"/>
          </p:cNvSpPr>
          <p:nvPr>
            <p:ph type="pic" sz="quarter" idx="22"/>
          </p:nvPr>
        </p:nvSpPr>
        <p:spPr>
          <a:xfrm>
            <a:off x="3286127" y="2"/>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a:p>
        </p:txBody>
      </p:sp>
      <p:sp>
        <p:nvSpPr>
          <p:cNvPr id="6" name="Slide Number Placeholder 5"/>
          <p:cNvSpPr>
            <a:spLocks noGrp="1"/>
          </p:cNvSpPr>
          <p:nvPr>
            <p:ph type="sldNum" sz="quarter" idx="2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D689AE3-EF30-4BCB-B5F3-7765E119084A}" type="slidenum">
              <a:rPr>
                <a:solidFill>
                  <a:srgbClr val="FFFFFF"/>
                </a:solidFill>
              </a:rPr>
              <a:pPr>
                <a:defRPr/>
              </a:pPr>
              <a:t>‹#›</a:t>
            </a:fld>
            <a:endParaRPr>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5365135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3764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1"/>
          <p:cNvSpPr>
            <a:spLocks noChangeArrowheads="1"/>
          </p:cNvSpPr>
          <p:nvPr userDrawn="1"/>
        </p:nvSpPr>
        <p:spPr bwMode="auto">
          <a:xfrm>
            <a:off x="4022725" y="3706812"/>
            <a:ext cx="4572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a:solidFill>
                <a:srgbClr val="585858"/>
              </a:solidFill>
            </a:endParaRPr>
          </a:p>
        </p:txBody>
      </p:sp>
      <p:sp>
        <p:nvSpPr>
          <p:cNvPr id="7"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4" name="Picture Placeholder 33"/>
          <p:cNvSpPr>
            <a:spLocks noGrp="1"/>
          </p:cNvSpPr>
          <p:nvPr>
            <p:ph type="pic" sz="quarter" idx="25"/>
          </p:nvPr>
        </p:nvSpPr>
        <p:spPr>
          <a:xfrm>
            <a:off x="1"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a:p>
        </p:txBody>
      </p:sp>
      <p:sp>
        <p:nvSpPr>
          <p:cNvPr id="36" name="Picture Placeholder 35"/>
          <p:cNvSpPr>
            <a:spLocks noGrp="1"/>
          </p:cNvSpPr>
          <p:nvPr>
            <p:ph type="pic" sz="quarter" idx="26"/>
          </p:nvPr>
        </p:nvSpPr>
        <p:spPr>
          <a:xfrm>
            <a:off x="3667126" y="1081089"/>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7" y="1081089"/>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8" name="Slide Number Placeholder 5"/>
          <p:cNvSpPr>
            <a:spLocks noGrp="1"/>
          </p:cNvSpPr>
          <p:nvPr>
            <p:ph type="sldNum" sz="quarter" idx="2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65E388F-3E77-4D1C-9D87-0EDBC6EB89BB}" type="slidenum">
              <a:rPr>
                <a:solidFill>
                  <a:srgbClr val="FFFFFF"/>
                </a:solidFill>
              </a:rPr>
              <a:pPr>
                <a:defRPr/>
              </a:pPr>
              <a:t>‹#›</a:t>
            </a:fld>
            <a:endParaRPr>
              <a:solidFill>
                <a:srgbClr val="FFFFFF"/>
              </a:solidFill>
            </a:endParaRPr>
          </a:p>
        </p:txBody>
      </p:sp>
      <p:sp>
        <p:nvSpPr>
          <p:cNvPr id="10"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741999678"/>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9776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 name="Group 13"/>
          <p:cNvGrpSpPr>
            <a:grpSpLocks/>
          </p:cNvGrpSpPr>
          <p:nvPr userDrawn="1"/>
        </p:nvGrpSpPr>
        <p:grpSpPr bwMode="auto">
          <a:xfrm>
            <a:off x="69851" y="2361884"/>
            <a:ext cx="4718050" cy="1735973"/>
            <a:chOff x="683589" y="2530504"/>
            <a:chExt cx="3582384" cy="1700194"/>
          </a:xfrm>
        </p:grpSpPr>
        <p:sp>
          <p:nvSpPr>
            <p:cNvPr id="8" name="Parallelogram 7"/>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6" y="2361884"/>
            <a:ext cx="4718050" cy="1735973"/>
            <a:chOff x="683589" y="2530504"/>
            <a:chExt cx="3582384" cy="1700194"/>
          </a:xfrm>
        </p:grpSpPr>
        <p:sp>
          <p:nvSpPr>
            <p:cNvPr id="11" name="Parallelogram 10"/>
            <p:cNvSpPr/>
            <p:nvPr/>
          </p:nvSpPr>
          <p:spPr bwMode="auto">
            <a:xfrm>
              <a:off x="733010" y="2530504"/>
              <a:ext cx="3532963" cy="442180"/>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5020"/>
              <a:ext cx="3164118" cy="44567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Picture Placeholder 2"/>
          <p:cNvSpPr>
            <a:spLocks noGrp="1"/>
          </p:cNvSpPr>
          <p:nvPr>
            <p:ph type="pic" sz="quarter" idx="21"/>
          </p:nvPr>
        </p:nvSpPr>
        <p:spPr>
          <a:xfrm>
            <a:off x="798513" y="1378792"/>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2"/>
            <a:ext cx="3363912" cy="2198127"/>
          </a:xfrm>
        </p:spPr>
        <p:txBody>
          <a:bodyPr/>
          <a:lstStyle/>
          <a:p>
            <a:pPr lvl="0"/>
            <a:endParaRPr lang="en-GB" noProof="0"/>
          </a:p>
        </p:txBody>
      </p:sp>
      <p:sp>
        <p:nvSpPr>
          <p:cNvPr id="20" name="Text Placeholder 19"/>
          <p:cNvSpPr>
            <a:spLocks noGrp="1"/>
          </p:cNvSpPr>
          <p:nvPr>
            <p:ph type="body" sz="quarter" idx="23"/>
          </p:nvPr>
        </p:nvSpPr>
        <p:spPr>
          <a:xfrm>
            <a:off x="233364"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21" name="Text Placeholder 19"/>
          <p:cNvSpPr>
            <a:spLocks noGrp="1"/>
          </p:cNvSpPr>
          <p:nvPr>
            <p:ph type="body" sz="quarter" idx="24"/>
          </p:nvPr>
        </p:nvSpPr>
        <p:spPr>
          <a:xfrm>
            <a:off x="4463257" y="3727826"/>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a:t>
            </a:r>
            <a:endParaRPr lang="en-GB"/>
          </a:p>
        </p:txBody>
      </p:sp>
      <p:sp>
        <p:nvSpPr>
          <p:cNvPr id="14" name="Slide Number Placeholder 5"/>
          <p:cNvSpPr>
            <a:spLocks noGrp="1"/>
          </p:cNvSpPr>
          <p:nvPr>
            <p:ph type="sldNum" sz="quarter" idx="25"/>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21E68CD-E5C0-4338-8C43-323CFAB0D9FA}" type="slidenum">
              <a:rPr>
                <a:solidFill>
                  <a:srgbClr val="FFFFFF"/>
                </a:solidFill>
              </a:rPr>
              <a:pPr>
                <a:defRPr/>
              </a:pPr>
              <a:t>‹#›</a:t>
            </a:fld>
            <a:endParaRPr>
              <a:solidFill>
                <a:srgbClr val="FFFFFF"/>
              </a:solidFill>
            </a:endParaRPr>
          </a:p>
        </p:txBody>
      </p:sp>
      <p:sp>
        <p:nvSpPr>
          <p:cNvPr id="1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3179080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680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5" name="Group 13"/>
          <p:cNvGrpSpPr>
            <a:grpSpLocks/>
          </p:cNvGrpSpPr>
          <p:nvPr userDrawn="1"/>
        </p:nvGrpSpPr>
        <p:grpSpPr bwMode="auto">
          <a:xfrm>
            <a:off x="5697539" y="3483848"/>
            <a:ext cx="2992437" cy="1274009"/>
            <a:chOff x="683589" y="2398278"/>
            <a:chExt cx="3582384" cy="1966188"/>
          </a:xfrm>
        </p:grpSpPr>
        <p:sp>
          <p:nvSpPr>
            <p:cNvPr id="16" name="Parallelogram 15"/>
            <p:cNvSpPr/>
            <p:nvPr/>
          </p:nvSpPr>
          <p:spPr bwMode="auto">
            <a:xfrm>
              <a:off x="733001" y="2398278"/>
              <a:ext cx="3532972"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651148"/>
              <a:ext cx="3164281"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1" y="3489404"/>
            <a:ext cx="2992438" cy="1273217"/>
            <a:chOff x="683589" y="2397861"/>
            <a:chExt cx="3582384" cy="1966730"/>
          </a:xfrm>
        </p:grpSpPr>
        <p:sp>
          <p:nvSpPr>
            <p:cNvPr id="19" name="Parallelogram 18"/>
            <p:cNvSpPr/>
            <p:nvPr/>
          </p:nvSpPr>
          <p:spPr bwMode="auto">
            <a:xfrm>
              <a:off x="733001" y="2397861"/>
              <a:ext cx="3532972"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650632"/>
              <a:ext cx="3164281"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4" y="3489404"/>
            <a:ext cx="2994025" cy="1273217"/>
            <a:chOff x="683589" y="2397861"/>
            <a:chExt cx="3582384" cy="1966730"/>
          </a:xfrm>
        </p:grpSpPr>
        <p:sp>
          <p:nvSpPr>
            <p:cNvPr id="22" name="Parallelogram 21"/>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650632"/>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9" y="1691562"/>
            <a:ext cx="2994025" cy="1274008"/>
            <a:chOff x="683589" y="2398280"/>
            <a:chExt cx="3582384" cy="1966186"/>
          </a:xfrm>
        </p:grpSpPr>
        <p:sp>
          <p:nvSpPr>
            <p:cNvPr id="25" name="Parallelogram 24"/>
            <p:cNvSpPr/>
            <p:nvPr/>
          </p:nvSpPr>
          <p:spPr bwMode="auto">
            <a:xfrm>
              <a:off x="732975" y="2398280"/>
              <a:ext cx="3532998" cy="707806"/>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651148"/>
              <a:ext cx="3164503" cy="71331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1" y="1697116"/>
            <a:ext cx="2994025" cy="1273216"/>
            <a:chOff x="683589" y="2397861"/>
            <a:chExt cx="3582384" cy="1966729"/>
          </a:xfrm>
        </p:grpSpPr>
        <p:sp>
          <p:nvSpPr>
            <p:cNvPr id="28" name="Parallelogram 27"/>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4" y="1697116"/>
            <a:ext cx="2994025" cy="1273216"/>
            <a:chOff x="683589" y="2397861"/>
            <a:chExt cx="3582384" cy="1966729"/>
          </a:xfrm>
        </p:grpSpPr>
        <p:sp>
          <p:nvSpPr>
            <p:cNvPr id="31" name="Parallelogram 30"/>
            <p:cNvSpPr/>
            <p:nvPr/>
          </p:nvSpPr>
          <p:spPr bwMode="auto">
            <a:xfrm>
              <a:off x="732975" y="2397861"/>
              <a:ext cx="3532998" cy="70844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650631"/>
              <a:ext cx="3164503" cy="713959"/>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3"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Picture Placeholder 2"/>
          <p:cNvSpPr>
            <a:spLocks noGrp="1"/>
          </p:cNvSpPr>
          <p:nvPr>
            <p:ph type="pic" sz="quarter" idx="21"/>
          </p:nvPr>
        </p:nvSpPr>
        <p:spPr>
          <a:xfrm>
            <a:off x="589758"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9"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7" y="2922682"/>
            <a:ext cx="2170112" cy="1466850"/>
          </a:xfrm>
        </p:spPr>
        <p:txBody>
          <a:bodyPr/>
          <a:lstStyle/>
          <a:p>
            <a:pPr lvl="0"/>
            <a:endParaRPr lang="en-GB" noProof="0"/>
          </a:p>
        </p:txBody>
      </p:sp>
      <p:sp>
        <p:nvSpPr>
          <p:cNvPr id="44" name="Text Placeholder 42"/>
          <p:cNvSpPr>
            <a:spLocks noGrp="1"/>
          </p:cNvSpPr>
          <p:nvPr>
            <p:ph type="body" sz="quarter" idx="25"/>
          </p:nvPr>
        </p:nvSpPr>
        <p:spPr>
          <a:xfrm>
            <a:off x="3348319"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5" name="Text Placeholder 42"/>
          <p:cNvSpPr>
            <a:spLocks noGrp="1"/>
          </p:cNvSpPr>
          <p:nvPr>
            <p:ph type="body" sz="quarter" idx="26"/>
          </p:nvPr>
        </p:nvSpPr>
        <p:spPr>
          <a:xfrm>
            <a:off x="6054725"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49" name="Picture Placeholder 2"/>
          <p:cNvSpPr>
            <a:spLocks noGrp="1"/>
          </p:cNvSpPr>
          <p:nvPr>
            <p:ph type="pic" sz="quarter" idx="30"/>
          </p:nvPr>
        </p:nvSpPr>
        <p:spPr>
          <a:xfrm>
            <a:off x="798514"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5"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3" y="1130300"/>
            <a:ext cx="2170112" cy="1466850"/>
          </a:xfrm>
        </p:spPr>
        <p:txBody>
          <a:bodyPr/>
          <a:lstStyle/>
          <a:p>
            <a:pPr lvl="0"/>
            <a:endParaRPr lang="en-GB" noProof="0"/>
          </a:p>
        </p:txBody>
      </p:sp>
      <p:sp>
        <p:nvSpPr>
          <p:cNvPr id="52" name="Text Placeholder 42"/>
          <p:cNvSpPr>
            <a:spLocks noGrp="1"/>
          </p:cNvSpPr>
          <p:nvPr>
            <p:ph type="body" sz="quarter" idx="24"/>
          </p:nvPr>
        </p:nvSpPr>
        <p:spPr>
          <a:xfrm>
            <a:off x="565150" y="2650941"/>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a:p>
        </p:txBody>
      </p:sp>
      <p:sp>
        <p:nvSpPr>
          <p:cNvPr id="34" name="Slide Number Placeholder 5"/>
          <p:cNvSpPr>
            <a:spLocks noGrp="1"/>
          </p:cNvSpPr>
          <p:nvPr>
            <p:ph type="sldNum" sz="quarter" idx="33"/>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36E1B51-CBE6-4B1B-A6C5-24FBE5B169F2}" type="slidenum">
              <a:rPr>
                <a:solidFill>
                  <a:srgbClr val="FFFFFF"/>
                </a:solidFill>
              </a:rPr>
              <a:pPr>
                <a:defRPr/>
              </a:pPr>
              <a:t>‹#›</a:t>
            </a:fld>
            <a:endParaRPr>
              <a:solidFill>
                <a:srgbClr val="FFFFFF"/>
              </a:solidFill>
            </a:endParaRPr>
          </a:p>
        </p:txBody>
      </p:sp>
      <p:sp>
        <p:nvSpPr>
          <p:cNvPr id="36"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348440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940599-13C4-4C28-BEE9-2A6DE22F2122}" type="slidenum">
              <a:rPr/>
              <a:pPr>
                <a:defRPr/>
              </a:pPr>
              <a:t>‹#›</a:t>
            </a:fld>
            <a:endParaRPr/>
          </a:p>
        </p:txBody>
      </p:sp>
    </p:spTree>
    <p:extLst>
      <p:ext uri="{BB962C8B-B14F-4D97-AF65-F5344CB8AC3E}">
        <p14:creationId xmlns:p14="http://schemas.microsoft.com/office/powerpoint/2010/main" val="8364756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583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59" name="Rectangle 3"/>
          <p:cNvSpPr>
            <a:spLocks noGrp="1" noChangeArrowheads="1"/>
          </p:cNvSpPr>
          <p:nvPr>
            <p:ph idx="4294967295"/>
          </p:nvPr>
        </p:nvSpPr>
        <p:spPr>
          <a:xfrm>
            <a:off x="468314" y="1150144"/>
            <a:ext cx="8415711" cy="3351610"/>
          </a:xfrm>
        </p:spPr>
        <p:txBody>
          <a:bodyPr/>
          <a:lstStyle>
            <a:lvl1pPr>
              <a:defRPr sz="1000"/>
            </a:lvl1pPr>
          </a:lstStyle>
          <a:p>
            <a:r>
              <a:rPr lang="en-GB" altLang="en-US"/>
              <a:t>Statistical statement of the economic transactions of an economy with the rest of the world in a specific time period</a:t>
            </a:r>
          </a:p>
          <a:p>
            <a:r>
              <a:rPr lang="en-GB" altLang="en-US"/>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B92ADD1-8C45-428F-A8A7-88644A97EA9E}" type="slidenum">
              <a:rPr>
                <a:solidFill>
                  <a:srgbClr val="FFFFFF"/>
                </a:solidFill>
              </a:rPr>
              <a:pPr>
                <a:defRPr/>
              </a:pPr>
              <a:t>‹#›</a:t>
            </a:fld>
            <a:endParaRPr>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11173079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326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arallelogram 3"/>
          <p:cNvSpPr/>
          <p:nvPr userDrawn="1"/>
        </p:nvSpPr>
        <p:spPr bwMode="auto">
          <a:xfrm>
            <a:off x="3629026" y="2946678"/>
            <a:ext cx="5514975" cy="36933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10" name="Content Placeholder 4"/>
          <p:cNvSpPr>
            <a:spLocks noGrp="1"/>
          </p:cNvSpPr>
          <p:nvPr>
            <p:ph idx="4294967295"/>
          </p:nvPr>
        </p:nvSpPr>
        <p:spPr>
          <a:xfrm>
            <a:off x="4427538" y="2139555"/>
            <a:ext cx="4465450" cy="2283619"/>
          </a:xfrm>
        </p:spPr>
        <p:txBody>
          <a:bodyPr/>
          <a:lstStyle>
            <a:lvl1pPr>
              <a:defRPr sz="1900"/>
            </a:lvl1pPr>
          </a:lstStyle>
          <a:p>
            <a:r>
              <a:rPr lang="de-DE" altLang="en-US" err="1"/>
              <a:t>You</a:t>
            </a:r>
            <a:r>
              <a:rPr lang="de-DE" altLang="en-US"/>
              <a:t> </a:t>
            </a:r>
            <a:r>
              <a:rPr lang="de-DE" altLang="en-US" err="1"/>
              <a:t>can</a:t>
            </a:r>
            <a:r>
              <a:rPr lang="de-DE" altLang="en-US"/>
              <a:t> </a:t>
            </a:r>
            <a:r>
              <a:rPr lang="de-DE" altLang="en-US" err="1"/>
              <a:t>easily</a:t>
            </a:r>
            <a:r>
              <a:rPr lang="de-DE" altLang="en-US"/>
              <a:t> </a:t>
            </a:r>
            <a:r>
              <a:rPr lang="de-DE" altLang="en-US" err="1"/>
              <a:t>re-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following</a:t>
            </a:r>
            <a:r>
              <a:rPr lang="de-DE" altLang="en-US"/>
              <a:t> </a:t>
            </a:r>
            <a:r>
              <a:rPr lang="de-DE" altLang="en-US" err="1"/>
              <a:t>slides</a:t>
            </a:r>
            <a:r>
              <a:rPr lang="de-DE" altLang="en-US"/>
              <a:t> </a:t>
            </a:r>
            <a:r>
              <a:rPr lang="de-DE" altLang="en-US" err="1"/>
              <a:t>to</a:t>
            </a:r>
            <a:r>
              <a:rPr lang="de-DE" altLang="en-US"/>
              <a:t> </a:t>
            </a:r>
            <a:r>
              <a:rPr lang="de-DE" altLang="en-US" err="1"/>
              <a:t>create</a:t>
            </a:r>
            <a:r>
              <a:rPr lang="de-DE" altLang="en-US"/>
              <a:t> </a:t>
            </a:r>
            <a:r>
              <a:rPr lang="de-DE" altLang="en-US" err="1"/>
              <a:t>your</a:t>
            </a:r>
            <a:r>
              <a:rPr lang="de-DE" altLang="en-US"/>
              <a:t> </a:t>
            </a:r>
            <a:r>
              <a:rPr lang="de-DE" altLang="en-US" err="1"/>
              <a:t>own</a:t>
            </a:r>
            <a:r>
              <a:rPr lang="de-DE" altLang="en-US"/>
              <a:t> </a:t>
            </a:r>
            <a:r>
              <a:rPr lang="de-DE" altLang="en-US" err="1"/>
              <a:t>presentation</a:t>
            </a:r>
            <a:r>
              <a:rPr lang="de-DE" altLang="en-US"/>
              <a:t>.</a:t>
            </a:r>
          </a:p>
          <a:p>
            <a:r>
              <a:rPr lang="de-DE" altLang="en-US" err="1"/>
              <a:t>Use</a:t>
            </a:r>
            <a:r>
              <a:rPr lang="de-DE" altLang="en-US"/>
              <a:t> </a:t>
            </a:r>
            <a:r>
              <a:rPr lang="de-DE" altLang="en-US" err="1"/>
              <a:t>one</a:t>
            </a:r>
            <a:r>
              <a:rPr lang="de-DE" altLang="en-US"/>
              <a:t> </a:t>
            </a:r>
            <a:r>
              <a:rPr lang="de-DE" altLang="en-US" err="1"/>
              <a:t>of</a:t>
            </a:r>
            <a:r>
              <a:rPr lang="de-DE" altLang="en-US"/>
              <a:t> </a:t>
            </a:r>
            <a:r>
              <a:rPr lang="de-DE" altLang="en-US" err="1"/>
              <a:t>the</a:t>
            </a:r>
            <a:r>
              <a:rPr lang="de-DE" altLang="en-US"/>
              <a:t> </a:t>
            </a:r>
            <a:r>
              <a:rPr lang="de-DE" altLang="en-US" err="1"/>
              <a:t>pre-defined</a:t>
            </a:r>
            <a:r>
              <a:rPr lang="de-DE" altLang="en-US"/>
              <a:t> </a:t>
            </a:r>
            <a:r>
              <a:rPr lang="de-DE" altLang="en-US" err="1"/>
              <a:t>chart</a:t>
            </a:r>
            <a:r>
              <a:rPr lang="de-DE" altLang="en-US"/>
              <a:t> </a:t>
            </a:r>
            <a:r>
              <a:rPr lang="de-DE" altLang="en-US" err="1"/>
              <a:t>templates</a:t>
            </a:r>
            <a:r>
              <a:rPr lang="de-DE" altLang="en-US"/>
              <a:t> </a:t>
            </a:r>
            <a:r>
              <a:rPr lang="de-DE" altLang="en-US" err="1"/>
              <a:t>to</a:t>
            </a:r>
            <a:r>
              <a:rPr lang="de-DE" altLang="en-US"/>
              <a:t> </a:t>
            </a:r>
            <a:r>
              <a:rPr lang="de-DE" altLang="en-US" err="1"/>
              <a:t>quickly</a:t>
            </a:r>
            <a:r>
              <a:rPr lang="de-DE" altLang="en-US"/>
              <a:t> </a:t>
            </a:r>
            <a:r>
              <a:rPr lang="de-DE" altLang="en-US" err="1"/>
              <a:t>create</a:t>
            </a:r>
            <a:r>
              <a:rPr lang="de-DE" altLang="en-US"/>
              <a:t> a ECB-</a:t>
            </a:r>
            <a:r>
              <a:rPr lang="de-DE" altLang="en-US" err="1"/>
              <a:t>styled</a:t>
            </a:r>
            <a:r>
              <a:rPr lang="de-DE" altLang="en-US"/>
              <a:t> </a:t>
            </a:r>
            <a:r>
              <a:rPr lang="de-DE" altLang="en-US" err="1"/>
              <a:t>chart</a:t>
            </a:r>
            <a:r>
              <a:rPr lang="de-DE" altLang="en-US"/>
              <a:t> </a:t>
            </a:r>
            <a:r>
              <a:rPr lang="de-DE" altLang="en-US" err="1"/>
              <a:t>of</a:t>
            </a:r>
            <a:r>
              <a:rPr lang="de-DE" altLang="en-US"/>
              <a:t> </a:t>
            </a:r>
            <a:r>
              <a:rPr lang="de-DE" altLang="en-US" err="1"/>
              <a:t>various</a:t>
            </a:r>
            <a:r>
              <a:rPr lang="de-DE" altLang="en-US"/>
              <a:t> </a:t>
            </a:r>
            <a:r>
              <a:rPr lang="de-DE" altLang="en-US" err="1"/>
              <a:t>types</a:t>
            </a:r>
            <a:endParaRPr lang="en-GB" altLang="en-US"/>
          </a:p>
        </p:txBody>
      </p:sp>
      <p:sp>
        <p:nvSpPr>
          <p:cNvPr id="6"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C3B26C7-BE8A-4903-8B72-C5E64618697A}" type="slidenum">
              <a:rPr>
                <a:solidFill>
                  <a:srgbClr val="FFFFFF"/>
                </a:solidFill>
              </a:rPr>
              <a:pPr>
                <a:defRPr/>
              </a:pPr>
              <a:t>‹#›</a:t>
            </a:fld>
            <a:endParaRPr>
              <a:solidFill>
                <a:srgbClr val="FFFFFF"/>
              </a:solidFill>
            </a:endParaRPr>
          </a:p>
        </p:txBody>
      </p:sp>
      <p:sp>
        <p:nvSpPr>
          <p:cNvPr id="8"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268813390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8961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1" y="1059916"/>
            <a:ext cx="4211992" cy="3348038"/>
          </a:xfrm>
        </p:spPr>
        <p:txBody>
          <a:bodyPr/>
          <a:lstStyle/>
          <a:p>
            <a:pPr lvl="0"/>
            <a:r>
              <a:rPr lang="en-US" noProof="0"/>
              <a:t>Click icon to add chart</a:t>
            </a:r>
            <a:endParaRPr lang="en-GB" noProof="0"/>
          </a:p>
        </p:txBody>
      </p:sp>
      <p:sp>
        <p:nvSpPr>
          <p:cNvPr id="11" name="Text Placeholder 10"/>
          <p:cNvSpPr>
            <a:spLocks noGrp="1"/>
          </p:cNvSpPr>
          <p:nvPr>
            <p:ph type="body" sz="quarter" idx="14"/>
          </p:nvPr>
        </p:nvSpPr>
        <p:spPr>
          <a:xfrm>
            <a:off x="453800"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3" y="4462463"/>
            <a:ext cx="4032250" cy="323850"/>
          </a:xfrm>
        </p:spPr>
        <p:txBody>
          <a:bodyPr/>
          <a:lstStyle>
            <a:lvl1pPr marL="0" indent="0">
              <a:buFontTx/>
              <a:buNone/>
              <a:defRPr sz="1600"/>
            </a:lvl1pPr>
            <a:lvl2pPr marL="300029" indent="0">
              <a:buFontTx/>
              <a:buNone/>
              <a:defRPr sz="1600"/>
            </a:lvl2pPr>
            <a:lvl3pPr marL="598472" indent="0">
              <a:buFontTx/>
              <a:buNone/>
              <a:defRPr sz="1600"/>
            </a:lvl3pPr>
            <a:lvl4pPr marL="915964" indent="0">
              <a:buFontTx/>
              <a:buNone/>
              <a:defRPr sz="1600"/>
            </a:lvl4pPr>
            <a:lvl5pPr marL="1220756" indent="0">
              <a:buFontTx/>
              <a:buNone/>
              <a:defRPr sz="1600"/>
            </a:lvl5pPr>
          </a:lstStyle>
          <a:p>
            <a:pPr lvl="0"/>
            <a:r>
              <a:rPr lang="en-US" noProof="0"/>
              <a:t>Click to edit Master text styles</a:t>
            </a:r>
          </a:p>
        </p:txBody>
      </p:sp>
      <p:sp>
        <p:nvSpPr>
          <p:cNvPr id="10" name="Slide Number Placeholder 5"/>
          <p:cNvSpPr>
            <a:spLocks noGrp="1"/>
          </p:cNvSpPr>
          <p:nvPr>
            <p:ph type="sldNum" sz="quarter" idx="16"/>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E7FBCB27-3CE0-43DA-8416-75ED97282B05}" type="slidenum">
              <a:rPr>
                <a:solidFill>
                  <a:srgbClr val="FFFFFF"/>
                </a:solidFill>
              </a:rPr>
              <a:pPr>
                <a:defRPr/>
              </a:pPr>
              <a:t>‹#›</a:t>
            </a:fld>
            <a:endParaRPr>
              <a:solidFill>
                <a:srgbClr val="FFFFFF"/>
              </a:solidFill>
            </a:endParaRPr>
          </a:p>
        </p:txBody>
      </p:sp>
      <p:sp>
        <p:nvSpPr>
          <p:cNvPr id="14"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03826617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192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8"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Chart Placeholder 2"/>
          <p:cNvSpPr>
            <a:spLocks noGrp="1"/>
          </p:cNvSpPr>
          <p:nvPr>
            <p:ph type="chart" sz="quarter" idx="14"/>
          </p:nvPr>
        </p:nvSpPr>
        <p:spPr>
          <a:xfrm>
            <a:off x="457201" y="1107036"/>
            <a:ext cx="4105835" cy="1747838"/>
          </a:xfrm>
        </p:spPr>
        <p:txBody>
          <a:bodyPr/>
          <a:lstStyle/>
          <a:p>
            <a:pPr lvl="0"/>
            <a:endParaRPr lang="en-GB" noProof="0"/>
          </a:p>
        </p:txBody>
      </p:sp>
      <p:sp>
        <p:nvSpPr>
          <p:cNvPr id="14" name="Chart Placeholder 2"/>
          <p:cNvSpPr>
            <a:spLocks noGrp="1"/>
          </p:cNvSpPr>
          <p:nvPr>
            <p:ph type="chart" sz="quarter" idx="15"/>
          </p:nvPr>
        </p:nvSpPr>
        <p:spPr>
          <a:xfrm>
            <a:off x="4778189" y="1107036"/>
            <a:ext cx="4105835" cy="1747838"/>
          </a:xfrm>
        </p:spPr>
        <p:txBody>
          <a:bodyPr/>
          <a:lstStyle/>
          <a:p>
            <a:pPr lvl="0"/>
            <a:endParaRPr lang="en-GB" noProof="0"/>
          </a:p>
        </p:txBody>
      </p:sp>
      <p:sp>
        <p:nvSpPr>
          <p:cNvPr id="15" name="Chart Placeholder 2"/>
          <p:cNvSpPr>
            <a:spLocks noGrp="1"/>
          </p:cNvSpPr>
          <p:nvPr>
            <p:ph type="chart" sz="quarter" idx="16"/>
          </p:nvPr>
        </p:nvSpPr>
        <p:spPr>
          <a:xfrm>
            <a:off x="457201"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9"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F4FD23C-D5FB-442C-9833-D8C200A3EDBC}" type="slidenum">
              <a:rPr>
                <a:solidFill>
                  <a:srgbClr val="FFFFFF"/>
                </a:solidFill>
              </a:rPr>
              <a:pPr>
                <a:defRPr/>
              </a:pPr>
              <a:t>‹#›</a:t>
            </a:fld>
            <a:endParaRPr>
              <a:solidFill>
                <a:srgbClr val="FFFFFF"/>
              </a:solidFill>
            </a:endParaRPr>
          </a:p>
        </p:txBody>
      </p:sp>
      <p:sp>
        <p:nvSpPr>
          <p:cNvPr id="11"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40162286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3869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userDrawn="1"/>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bankingsupervision.europa.eu © </a:t>
            </a:r>
          </a:p>
        </p:txBody>
      </p:sp>
      <p:sp>
        <p:nvSpPr>
          <p:cNvPr id="3" name="SmartArt Placeholder 2"/>
          <p:cNvSpPr>
            <a:spLocks noGrp="1"/>
          </p:cNvSpPr>
          <p:nvPr>
            <p:ph type="dgm" idx="1"/>
          </p:nvPr>
        </p:nvSpPr>
        <p:spPr>
          <a:xfrm>
            <a:off x="466727" y="1071564"/>
            <a:ext cx="8397875" cy="3351610"/>
          </a:xfrm>
        </p:spPr>
        <p:txBody>
          <a:bodyPr/>
          <a:lstStyle/>
          <a:p>
            <a:pPr lvl="0"/>
            <a:r>
              <a:rPr lang="en-US" noProof="0"/>
              <a:t>Click icon to add SmartArt graphic</a:t>
            </a:r>
            <a:endParaRPr lang="en-GB" noProof="0"/>
          </a:p>
        </p:txBody>
      </p:sp>
      <p:sp>
        <p:nvSpPr>
          <p:cNvPr id="5" name="Slide Number Placeholder 5"/>
          <p:cNvSpPr>
            <a:spLocks noGrp="1"/>
          </p:cNvSpPr>
          <p:nvPr>
            <p:ph type="sldNum" sz="quarter" idx="10"/>
          </p:nvPr>
        </p:nvSpPr>
        <p:spPr>
          <a:xfrm>
            <a:off x="4357689"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131F7CF-4F95-4A3A-9767-51C74E450553}" type="slidenum">
              <a:rPr>
                <a:solidFill>
                  <a:srgbClr val="FFFFFF"/>
                </a:solidFill>
              </a:rPr>
              <a:pPr>
                <a:defRPr/>
              </a:pPr>
              <a:t>‹#›</a:t>
            </a:fld>
            <a:endParaRPr>
              <a:solidFill>
                <a:srgbClr val="FFFFFF"/>
              </a:solidFill>
            </a:endParaRPr>
          </a:p>
        </p:txBody>
      </p:sp>
      <p:sp>
        <p:nvSpPr>
          <p:cNvPr id="7" name="Rectangle 4"/>
          <p:cNvSpPr>
            <a:spLocks noGrp="1" noChangeArrowheads="1"/>
          </p:cNvSpPr>
          <p:nvPr>
            <p:ph type="title"/>
          </p:nvPr>
        </p:nvSpPr>
        <p:spPr>
          <a:xfrm>
            <a:off x="463551" y="411956"/>
            <a:ext cx="4032000"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400" kern="1200" dirty="0" smtClean="0">
                <a:solidFill>
                  <a:schemeClr val="accent4"/>
                </a:solidFill>
              </a:defRPr>
            </a:lvl1pPr>
          </a:lstStyle>
          <a:p>
            <a:pPr lvl="0"/>
            <a:r>
              <a:rPr lang="en-US" altLang="en-US"/>
              <a:t>Click to edit Master title style</a:t>
            </a:r>
            <a:endParaRPr lang="en-GB" altLang="en-US"/>
          </a:p>
        </p:txBody>
      </p:sp>
    </p:spTree>
    <p:extLst>
      <p:ext uri="{BB962C8B-B14F-4D97-AF65-F5344CB8AC3E}">
        <p14:creationId xmlns:p14="http://schemas.microsoft.com/office/powerpoint/2010/main" val="37720219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Import Elements - long headline">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55EDED-6B76-4AFC-B6C2-BB4EBC75C165}"/>
              </a:ext>
            </a:extLst>
          </p:cNvPr>
          <p:cNvGraphicFramePr>
            <a:graphicFrameLocks noChangeAspect="1"/>
          </p:cNvGraphicFramePr>
          <p:nvPr userDrawn="1">
            <p:custDataLst>
              <p:tags r:id="rId1"/>
            </p:custDataLst>
            <p:extLst>
              <p:ext uri="{D42A27DB-BD31-4B8C-83A1-F6EECF244321}">
                <p14:modId xmlns:p14="http://schemas.microsoft.com/office/powerpoint/2010/main" val="3286446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D55EDED-6B76-4AFC-B6C2-BB4EBC75C1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anchor="t"/>
          <a:lstStyle>
            <a:lvl1pPr>
              <a:defRPr lang="en-GB" altLang="en-US" sz="2800" kern="1200" dirty="0" smtClean="0"/>
            </a:lvl1pPr>
          </a:lstStyle>
          <a:p>
            <a:pPr lvl="0"/>
            <a:r>
              <a:rPr lang="en-US" altLang="en-US"/>
              <a:t>Click to edit Master title style</a:t>
            </a:r>
            <a:endParaRPr lang="en-GB" altLang="en-US"/>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pPr>
                <a:defRPr/>
              </a:pPr>
              <a:t>‹#›</a:t>
            </a:fld>
            <a:endParaRPr/>
          </a:p>
        </p:txBody>
      </p:sp>
    </p:spTree>
    <p:extLst>
      <p:ext uri="{BB962C8B-B14F-4D97-AF65-F5344CB8AC3E}">
        <p14:creationId xmlns:p14="http://schemas.microsoft.com/office/powerpoint/2010/main" val="12243901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bankingsupervision.europa.eu © </a:t>
            </a: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3DEC1D1-A7A5-4B2F-849A-DB58B1AE9495}" type="slidenum">
              <a:rPr/>
              <a:pPr>
                <a:defRPr/>
              </a:pPr>
              <a:t>‹#›</a:t>
            </a:fld>
            <a:endParaRPr/>
          </a:p>
        </p:txBody>
      </p:sp>
    </p:spTree>
    <p:extLst>
      <p:ext uri="{BB962C8B-B14F-4D97-AF65-F5344CB8AC3E}">
        <p14:creationId xmlns:p14="http://schemas.microsoft.com/office/powerpoint/2010/main" val="37900962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Freeform 13">
            <a:extLst>
              <a:ext uri="{FF2B5EF4-FFF2-40B4-BE49-F238E27FC236}">
                <a16:creationId xmlns:a16="http://schemas.microsoft.com/office/drawing/2014/main" id="{C486B34F-D448-EE43-AF17-41C0D3BF7157}"/>
              </a:ext>
            </a:extLst>
          </p:cNvPr>
          <p:cNvSpPr>
            <a:spLocks noGrp="1"/>
          </p:cNvSpPr>
          <p:nvPr>
            <p:ph type="pic" sz="quarter" idx="10"/>
          </p:nvPr>
        </p:nvSpPr>
        <p:spPr>
          <a:xfrm>
            <a:off x="1350587" y="1200093"/>
            <a:ext cx="2858367" cy="2858369"/>
          </a:xfrm>
          <a:custGeom>
            <a:avLst/>
            <a:gdLst>
              <a:gd name="connsiteX0" fmla="*/ 1517336 w 3811156"/>
              <a:gd name="connsiteY0" fmla="*/ 182 h 3811158"/>
              <a:gd name="connsiteX1" fmla="*/ 3098132 w 3811156"/>
              <a:gd name="connsiteY1" fmla="*/ 713026 h 3811158"/>
              <a:gd name="connsiteX2" fmla="*/ 3391851 w 3811156"/>
              <a:gd name="connsiteY2" fmla="*/ 3391852 h 3811158"/>
              <a:gd name="connsiteX3" fmla="*/ 713026 w 3811156"/>
              <a:gd name="connsiteY3" fmla="*/ 3098132 h 3811158"/>
              <a:gd name="connsiteX4" fmla="*/ 419307 w 3811156"/>
              <a:gd name="connsiteY4" fmla="*/ 419307 h 3811158"/>
              <a:gd name="connsiteX5" fmla="*/ 1517336 w 3811156"/>
              <a:gd name="connsiteY5" fmla="*/ 182 h 381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1156" h="3811158">
                <a:moveTo>
                  <a:pt x="1517336" y="182"/>
                </a:moveTo>
                <a:cubicBezTo>
                  <a:pt x="2054982" y="7746"/>
                  <a:pt x="2636439" y="251334"/>
                  <a:pt x="3098132" y="713026"/>
                </a:cubicBezTo>
                <a:cubicBezTo>
                  <a:pt x="3918918" y="1533813"/>
                  <a:pt x="4050386" y="2733118"/>
                  <a:pt x="3391851" y="3391852"/>
                </a:cubicBezTo>
                <a:cubicBezTo>
                  <a:pt x="2733117" y="4050388"/>
                  <a:pt x="1533812" y="3918919"/>
                  <a:pt x="713026" y="3098132"/>
                </a:cubicBezTo>
                <a:cubicBezTo>
                  <a:pt x="-107760" y="2277346"/>
                  <a:pt x="-239229" y="1078041"/>
                  <a:pt x="419307" y="419307"/>
                </a:cubicBezTo>
                <a:cubicBezTo>
                  <a:pt x="707503" y="131197"/>
                  <a:pt x="1099168" y="-5700"/>
                  <a:pt x="1517336" y="182"/>
                </a:cubicBezTo>
                <a:close/>
              </a:path>
            </a:pathLst>
          </a:custGeom>
          <a:noFill/>
        </p:spPr>
        <p:txBody>
          <a:bodyPr wrap="square" anchor="ctr">
            <a:noAutofit/>
          </a:bodyPr>
          <a:lstStyle>
            <a:lvl1pPr marL="0" indent="0" algn="ctr">
              <a:buNone/>
              <a:defRPr>
                <a:solidFill>
                  <a:schemeClr val="accent5"/>
                </a:solidFill>
              </a:defRPr>
            </a:lvl1pPr>
          </a:lstStyle>
          <a:p>
            <a:endParaRPr lang="en-US"/>
          </a:p>
        </p:txBody>
      </p:sp>
      <p:sp>
        <p:nvSpPr>
          <p:cNvPr id="18" name="Title 1">
            <a:extLst>
              <a:ext uri="{FF2B5EF4-FFF2-40B4-BE49-F238E27FC236}">
                <a16:creationId xmlns:a16="http://schemas.microsoft.com/office/drawing/2014/main" id="{A2A6FDFB-46FD-4D32-A054-BC9C55F6A02B}"/>
              </a:ext>
            </a:extLst>
          </p:cNvPr>
          <p:cNvSpPr>
            <a:spLocks noGrp="1"/>
          </p:cNvSpPr>
          <p:nvPr>
            <p:ph type="ctrTitle"/>
          </p:nvPr>
        </p:nvSpPr>
        <p:spPr>
          <a:xfrm>
            <a:off x="4934954" y="221456"/>
            <a:ext cx="3580396" cy="2411016"/>
          </a:xfrm>
        </p:spPr>
        <p:txBody>
          <a:bodyPr anchor="b"/>
          <a:lstStyle>
            <a:lvl1pPr algn="ctr">
              <a:defRPr sz="4500"/>
            </a:lvl1pPr>
          </a:lstStyle>
          <a:p>
            <a:r>
              <a:rPr lang="en-US"/>
              <a:t>Click to edit Master title style</a:t>
            </a:r>
          </a:p>
        </p:txBody>
      </p:sp>
      <p:sp>
        <p:nvSpPr>
          <p:cNvPr id="20" name="Subtitle 2">
            <a:extLst>
              <a:ext uri="{FF2B5EF4-FFF2-40B4-BE49-F238E27FC236}">
                <a16:creationId xmlns:a16="http://schemas.microsoft.com/office/drawing/2014/main" id="{C1F0D0AA-12EA-49AC-BF55-4B2556467E4C}"/>
              </a:ext>
            </a:extLst>
          </p:cNvPr>
          <p:cNvSpPr>
            <a:spLocks noGrp="1"/>
          </p:cNvSpPr>
          <p:nvPr>
            <p:ph type="subTitle" idx="1"/>
          </p:nvPr>
        </p:nvSpPr>
        <p:spPr>
          <a:xfrm>
            <a:off x="4934954" y="2701528"/>
            <a:ext cx="3580396"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1" name="Freeform: Shape 10">
            <a:extLst>
              <a:ext uri="{FF2B5EF4-FFF2-40B4-BE49-F238E27FC236}">
                <a16:creationId xmlns:a16="http://schemas.microsoft.com/office/drawing/2014/main" id="{3FAE6EA2-60DF-494E-B1EA-22F145F8A766}"/>
              </a:ext>
            </a:extLst>
          </p:cNvPr>
          <p:cNvSpPr/>
          <p:nvPr userDrawn="1"/>
        </p:nvSpPr>
        <p:spPr>
          <a:xfrm>
            <a:off x="0" y="61245"/>
            <a:ext cx="5071110" cy="5082255"/>
          </a:xfrm>
          <a:custGeom>
            <a:avLst/>
            <a:gdLst>
              <a:gd name="connsiteX0" fmla="*/ 4497011 w 6761480"/>
              <a:gd name="connsiteY0" fmla="*/ 6773822 h 6776340"/>
              <a:gd name="connsiteX1" fmla="*/ 4501642 w 6761480"/>
              <a:gd name="connsiteY1" fmla="*/ 6773822 h 6776340"/>
              <a:gd name="connsiteX2" fmla="*/ 4497011 w 6761480"/>
              <a:gd name="connsiteY2" fmla="*/ 6775081 h 6776340"/>
              <a:gd name="connsiteX3" fmla="*/ 1252 w 6761480"/>
              <a:gd name="connsiteY3" fmla="*/ 6753365 h 6776340"/>
              <a:gd name="connsiteX4" fmla="*/ 19095 w 6761480"/>
              <a:gd name="connsiteY4" fmla="*/ 6775081 h 6776340"/>
              <a:gd name="connsiteX5" fmla="*/ 1252 w 6761480"/>
              <a:gd name="connsiteY5" fmla="*/ 6775081 h 6776340"/>
              <a:gd name="connsiteX6" fmla="*/ 6600269 w 6761480"/>
              <a:gd name="connsiteY6" fmla="*/ 6319035 h 6776340"/>
              <a:gd name="connsiteX7" fmla="*/ 6599017 w 6761480"/>
              <a:gd name="connsiteY7" fmla="*/ 6532423 h 6776340"/>
              <a:gd name="connsiteX8" fmla="*/ 6557645 w 6761480"/>
              <a:gd name="connsiteY8" fmla="*/ 6439524 h 6776340"/>
              <a:gd name="connsiteX9" fmla="*/ 6556433 w 6761480"/>
              <a:gd name="connsiteY9" fmla="*/ 6439022 h 6776340"/>
              <a:gd name="connsiteX10" fmla="*/ 6479087 w 6761480"/>
              <a:gd name="connsiteY10" fmla="*/ 6600995 h 6776340"/>
              <a:gd name="connsiteX11" fmla="*/ 6383025 w 6761480"/>
              <a:gd name="connsiteY11" fmla="*/ 6775081 h 6776340"/>
              <a:gd name="connsiteX12" fmla="*/ 6360174 w 6761480"/>
              <a:gd name="connsiteY12" fmla="*/ 6775081 h 6776340"/>
              <a:gd name="connsiteX13" fmla="*/ 6461753 w 6761480"/>
              <a:gd name="connsiteY13" fmla="*/ 6592694 h 6776340"/>
              <a:gd name="connsiteX14" fmla="*/ 6544320 w 6761480"/>
              <a:gd name="connsiteY14" fmla="*/ 6421628 h 6776340"/>
              <a:gd name="connsiteX15" fmla="*/ 6544854 w 6761480"/>
              <a:gd name="connsiteY15" fmla="*/ 6421998 h 6776340"/>
              <a:gd name="connsiteX16" fmla="*/ 6544525 w 6761480"/>
              <a:gd name="connsiteY16" fmla="*/ 6421204 h 6776340"/>
              <a:gd name="connsiteX17" fmla="*/ 6544320 w 6761480"/>
              <a:gd name="connsiteY17" fmla="*/ 6421628 h 6776340"/>
              <a:gd name="connsiteX18" fmla="*/ 6480691 w 6761480"/>
              <a:gd name="connsiteY18" fmla="*/ 6377575 h 6776340"/>
              <a:gd name="connsiteX19" fmla="*/ 6600269 w 6761480"/>
              <a:gd name="connsiteY19" fmla="*/ 6319035 h 6776340"/>
              <a:gd name="connsiteX20" fmla="*/ 1252 w 6761480"/>
              <a:gd name="connsiteY20" fmla="*/ 6096835 h 6776340"/>
              <a:gd name="connsiteX21" fmla="*/ 567839 w 6761480"/>
              <a:gd name="connsiteY21" fmla="*/ 6775081 h 6776340"/>
              <a:gd name="connsiteX22" fmla="*/ 567839 w 6761480"/>
              <a:gd name="connsiteY22" fmla="*/ 6776340 h 6776340"/>
              <a:gd name="connsiteX23" fmla="*/ 506798 w 6761480"/>
              <a:gd name="connsiteY23" fmla="*/ 6776340 h 6776340"/>
              <a:gd name="connsiteX24" fmla="*/ 1252 w 6761480"/>
              <a:gd name="connsiteY24" fmla="*/ 6171741 h 6776340"/>
              <a:gd name="connsiteX25" fmla="*/ 6421215 w 6761480"/>
              <a:gd name="connsiteY25" fmla="*/ 5928138 h 6776340"/>
              <a:gd name="connsiteX26" fmla="*/ 6419963 w 6761480"/>
              <a:gd name="connsiteY26" fmla="*/ 6133658 h 6776340"/>
              <a:gd name="connsiteX27" fmla="*/ 6377876 w 6761480"/>
              <a:gd name="connsiteY27" fmla="*/ 6043667 h 6776340"/>
              <a:gd name="connsiteX28" fmla="*/ 6378038 w 6761480"/>
              <a:gd name="connsiteY28" fmla="*/ 6043340 h 6776340"/>
              <a:gd name="connsiteX29" fmla="*/ 6377774 w 6761480"/>
              <a:gd name="connsiteY29" fmla="*/ 6043450 h 6776340"/>
              <a:gd name="connsiteX30" fmla="*/ 6377876 w 6761480"/>
              <a:gd name="connsiteY30" fmla="*/ 6043667 h 6776340"/>
              <a:gd name="connsiteX31" fmla="*/ 6287037 w 6761480"/>
              <a:gd name="connsiteY31" fmla="*/ 6226976 h 6776340"/>
              <a:gd name="connsiteX32" fmla="*/ 5908156 w 6761480"/>
              <a:gd name="connsiteY32" fmla="*/ 6775081 h 6776340"/>
              <a:gd name="connsiteX33" fmla="*/ 5877479 w 6761480"/>
              <a:gd name="connsiteY33" fmla="*/ 6775081 h 6776340"/>
              <a:gd name="connsiteX34" fmla="*/ 6271591 w 6761480"/>
              <a:gd name="connsiteY34" fmla="*/ 6216354 h 6776340"/>
              <a:gd name="connsiteX35" fmla="*/ 6363444 w 6761480"/>
              <a:gd name="connsiteY35" fmla="*/ 6032284 h 6776340"/>
              <a:gd name="connsiteX36" fmla="*/ 6362632 w 6761480"/>
              <a:gd name="connsiteY36" fmla="*/ 6030324 h 6776340"/>
              <a:gd name="connsiteX37" fmla="*/ 6363897 w 6761480"/>
              <a:gd name="connsiteY37" fmla="*/ 6027272 h 6776340"/>
              <a:gd name="connsiteX38" fmla="*/ 6301637 w 6761480"/>
              <a:gd name="connsiteY38" fmla="*/ 5986364 h 6776340"/>
              <a:gd name="connsiteX39" fmla="*/ 6421215 w 6761480"/>
              <a:gd name="connsiteY39" fmla="*/ 5928138 h 6776340"/>
              <a:gd name="connsiteX40" fmla="*/ 1252 w 6761480"/>
              <a:gd name="connsiteY40" fmla="*/ 5376728 h 6776340"/>
              <a:gd name="connsiteX41" fmla="*/ 1127853 w 6761480"/>
              <a:gd name="connsiteY41" fmla="*/ 6775081 h 6776340"/>
              <a:gd name="connsiteX42" fmla="*/ 1065559 w 6761480"/>
              <a:gd name="connsiteY42" fmla="*/ 6775081 h 6776340"/>
              <a:gd name="connsiteX43" fmla="*/ 1252 w 6761480"/>
              <a:gd name="connsiteY43" fmla="*/ 5462021 h 6776340"/>
              <a:gd name="connsiteX44" fmla="*/ 6729864 w 6761480"/>
              <a:gd name="connsiteY44" fmla="*/ 5362880 h 6776340"/>
              <a:gd name="connsiteX45" fmla="*/ 6761480 w 6761480"/>
              <a:gd name="connsiteY45" fmla="*/ 5550775 h 6776340"/>
              <a:gd name="connsiteX46" fmla="*/ 6712848 w 6761480"/>
              <a:gd name="connsiteY46" fmla="*/ 5477718 h 6776340"/>
              <a:gd name="connsiteX47" fmla="*/ 6676929 w 6761480"/>
              <a:gd name="connsiteY47" fmla="*/ 5639303 h 6776340"/>
              <a:gd name="connsiteX48" fmla="*/ 6158269 w 6761480"/>
              <a:gd name="connsiteY48" fmla="*/ 6775081 h 6776340"/>
              <a:gd name="connsiteX49" fmla="*/ 6131661 w 6761480"/>
              <a:gd name="connsiteY49" fmla="*/ 6775081 h 6776340"/>
              <a:gd name="connsiteX50" fmla="*/ 6136669 w 6761480"/>
              <a:gd name="connsiteY50" fmla="*/ 6767528 h 6776340"/>
              <a:gd name="connsiteX51" fmla="*/ 6663217 w 6761480"/>
              <a:gd name="connsiteY51" fmla="*/ 5628557 h 6776340"/>
              <a:gd name="connsiteX52" fmla="*/ 6698308 w 6761480"/>
              <a:gd name="connsiteY52" fmla="*/ 5473391 h 6776340"/>
              <a:gd name="connsiteX53" fmla="*/ 6698060 w 6761480"/>
              <a:gd name="connsiteY53" fmla="*/ 5473288 h 6776340"/>
              <a:gd name="connsiteX54" fmla="*/ 6694986 w 6761480"/>
              <a:gd name="connsiteY54" fmla="*/ 5465867 h 6776340"/>
              <a:gd name="connsiteX55" fmla="*/ 6643467 w 6761480"/>
              <a:gd name="connsiteY55" fmla="*/ 5446599 h 6776340"/>
              <a:gd name="connsiteX56" fmla="*/ 6729864 w 6761480"/>
              <a:gd name="connsiteY56" fmla="*/ 5362880 h 6776340"/>
              <a:gd name="connsiteX57" fmla="*/ 6572096 w 6761480"/>
              <a:gd name="connsiteY57" fmla="*/ 4541116 h 6776340"/>
              <a:gd name="connsiteX58" fmla="*/ 6624372 w 6761480"/>
              <a:gd name="connsiteY58" fmla="*/ 4706350 h 6776340"/>
              <a:gd name="connsiteX59" fmla="*/ 6574042 w 6761480"/>
              <a:gd name="connsiteY59" fmla="*/ 4651506 h 6776340"/>
              <a:gd name="connsiteX60" fmla="*/ 6574054 w 6761480"/>
              <a:gd name="connsiteY60" fmla="*/ 4651320 h 6776340"/>
              <a:gd name="connsiteX61" fmla="*/ 6573921 w 6761480"/>
              <a:gd name="connsiteY61" fmla="*/ 4651375 h 6776340"/>
              <a:gd name="connsiteX62" fmla="*/ 6574042 w 6761480"/>
              <a:gd name="connsiteY62" fmla="*/ 4651506 h 6776340"/>
              <a:gd name="connsiteX63" fmla="*/ 6564870 w 6761480"/>
              <a:gd name="connsiteY63" fmla="*/ 4796499 h 6776340"/>
              <a:gd name="connsiteX64" fmla="*/ 6277534 w 6761480"/>
              <a:gd name="connsiteY64" fmla="*/ 5877152 h 6776340"/>
              <a:gd name="connsiteX65" fmla="*/ 5609524 w 6761480"/>
              <a:gd name="connsiteY65" fmla="*/ 6776340 h 6776340"/>
              <a:gd name="connsiteX66" fmla="*/ 5572900 w 6761480"/>
              <a:gd name="connsiteY66" fmla="*/ 6776340 h 6776340"/>
              <a:gd name="connsiteX67" fmla="*/ 5572900 w 6761480"/>
              <a:gd name="connsiteY67" fmla="*/ 6775081 h 6776340"/>
              <a:gd name="connsiteX68" fmla="*/ 6265012 w 6761480"/>
              <a:gd name="connsiteY68" fmla="*/ 5860786 h 6776340"/>
              <a:gd name="connsiteX69" fmla="*/ 6552049 w 6761480"/>
              <a:gd name="connsiteY69" fmla="*/ 4787495 h 6776340"/>
              <a:gd name="connsiteX70" fmla="*/ 6560996 w 6761480"/>
              <a:gd name="connsiteY70" fmla="*/ 4647171 h 6776340"/>
              <a:gd name="connsiteX71" fmla="*/ 6559757 w 6761480"/>
              <a:gd name="connsiteY71" fmla="*/ 4644178 h 6776340"/>
              <a:gd name="connsiteX72" fmla="*/ 6510116 w 6761480"/>
              <a:gd name="connsiteY72" fmla="*/ 4637738 h 6776340"/>
              <a:gd name="connsiteX73" fmla="*/ 6572096 w 6761480"/>
              <a:gd name="connsiteY73" fmla="*/ 4541116 h 6776340"/>
              <a:gd name="connsiteX74" fmla="*/ 1252 w 6761480"/>
              <a:gd name="connsiteY74" fmla="*/ 4473763 h 6776340"/>
              <a:gd name="connsiteX75" fmla="*/ 212235 w 6761480"/>
              <a:gd name="connsiteY75" fmla="*/ 5013528 h 6776340"/>
              <a:gd name="connsiteX76" fmla="*/ 1714474 w 6761480"/>
              <a:gd name="connsiteY76" fmla="*/ 6776340 h 6776340"/>
              <a:gd name="connsiteX77" fmla="*/ 1645920 w 6761480"/>
              <a:gd name="connsiteY77" fmla="*/ 6776340 h 6776340"/>
              <a:gd name="connsiteX78" fmla="*/ 1645920 w 6761480"/>
              <a:gd name="connsiteY78" fmla="*/ 6775081 h 6776340"/>
              <a:gd name="connsiteX79" fmla="*/ 177802 w 6761480"/>
              <a:gd name="connsiteY79" fmla="*/ 5028950 h 6776340"/>
              <a:gd name="connsiteX80" fmla="*/ 1252 w 6761480"/>
              <a:gd name="connsiteY80" fmla="*/ 4590843 h 6776340"/>
              <a:gd name="connsiteX81" fmla="*/ 6353913 w 6761480"/>
              <a:gd name="connsiteY81" fmla="*/ 4251563 h 6776340"/>
              <a:gd name="connsiteX82" fmla="*/ 6409633 w 6761480"/>
              <a:gd name="connsiteY82" fmla="*/ 4413020 h 6776340"/>
              <a:gd name="connsiteX83" fmla="*/ 6358368 w 6761480"/>
              <a:gd name="connsiteY83" fmla="*/ 4361476 h 6776340"/>
              <a:gd name="connsiteX84" fmla="*/ 6358525 w 6761480"/>
              <a:gd name="connsiteY84" fmla="*/ 4357352 h 6776340"/>
              <a:gd name="connsiteX85" fmla="*/ 6353114 w 6761480"/>
              <a:gd name="connsiteY85" fmla="*/ 4499401 h 6776340"/>
              <a:gd name="connsiteX86" fmla="*/ 6093471 w 6761480"/>
              <a:gd name="connsiteY86" fmla="*/ 5513951 h 6776340"/>
              <a:gd name="connsiteX87" fmla="*/ 5227313 w 6761480"/>
              <a:gd name="connsiteY87" fmla="*/ 6500635 h 6776340"/>
              <a:gd name="connsiteX88" fmla="*/ 4613771 w 6761480"/>
              <a:gd name="connsiteY88" fmla="*/ 6773822 h 6776340"/>
              <a:gd name="connsiteX89" fmla="*/ 4501642 w 6761480"/>
              <a:gd name="connsiteY89" fmla="*/ 6773822 h 6776340"/>
              <a:gd name="connsiteX90" fmla="*/ 4689603 w 6761480"/>
              <a:gd name="connsiteY90" fmla="*/ 6722728 h 6776340"/>
              <a:gd name="connsiteX91" fmla="*/ 5218548 w 6761480"/>
              <a:gd name="connsiteY91" fmla="*/ 6477975 h 6776340"/>
              <a:gd name="connsiteX92" fmla="*/ 6080637 w 6761480"/>
              <a:gd name="connsiteY92" fmla="*/ 5500103 h 6776340"/>
              <a:gd name="connsiteX93" fmla="*/ 6340228 w 6761480"/>
              <a:gd name="connsiteY93" fmla="*/ 4492162 h 6776340"/>
              <a:gd name="connsiteX94" fmla="*/ 6345477 w 6761480"/>
              <a:gd name="connsiteY94" fmla="*/ 4356432 h 6776340"/>
              <a:gd name="connsiteX95" fmla="*/ 6343413 w 6761480"/>
              <a:gd name="connsiteY95" fmla="*/ 4355577 h 6776340"/>
              <a:gd name="connsiteX96" fmla="*/ 6343228 w 6761480"/>
              <a:gd name="connsiteY96" fmla="*/ 4355130 h 6776340"/>
              <a:gd name="connsiteX97" fmla="*/ 6294124 w 6761480"/>
              <a:gd name="connsiteY97" fmla="*/ 4351962 h 6776340"/>
              <a:gd name="connsiteX98" fmla="*/ 6353913 w 6761480"/>
              <a:gd name="connsiteY98" fmla="*/ 4251563 h 6776340"/>
              <a:gd name="connsiteX99" fmla="*/ 6398364 w 6761480"/>
              <a:gd name="connsiteY99" fmla="*/ 3724702 h 6776340"/>
              <a:gd name="connsiteX100" fmla="*/ 6473178 w 6761480"/>
              <a:gd name="connsiteY100" fmla="*/ 3864128 h 6776340"/>
              <a:gd name="connsiteX101" fmla="*/ 6422596 w 6761480"/>
              <a:gd name="connsiteY101" fmla="*/ 3828278 h 6776340"/>
              <a:gd name="connsiteX102" fmla="*/ 6422123 w 6761480"/>
              <a:gd name="connsiteY102" fmla="*/ 3828473 h 6776340"/>
              <a:gd name="connsiteX103" fmla="*/ 6444075 w 6761480"/>
              <a:gd name="connsiteY103" fmla="*/ 3981096 h 6776340"/>
              <a:gd name="connsiteX104" fmla="*/ 6380521 w 6761480"/>
              <a:gd name="connsiteY104" fmla="*/ 5144456 h 6776340"/>
              <a:gd name="connsiteX105" fmla="*/ 5679330 w 6761480"/>
              <a:gd name="connsiteY105" fmla="*/ 6416917 h 6776340"/>
              <a:gd name="connsiteX106" fmla="*/ 5229817 w 6761480"/>
              <a:gd name="connsiteY106" fmla="*/ 6775081 h 6776340"/>
              <a:gd name="connsiteX107" fmla="*/ 5179106 w 6761480"/>
              <a:gd name="connsiteY107" fmla="*/ 6775081 h 6776340"/>
              <a:gd name="connsiteX108" fmla="*/ 5669313 w 6761480"/>
              <a:gd name="connsiteY108" fmla="*/ 6395200 h 6776340"/>
              <a:gd name="connsiteX109" fmla="*/ 6367687 w 6761480"/>
              <a:gd name="connsiteY109" fmla="*/ 5133126 h 6776340"/>
              <a:gd name="connsiteX110" fmla="*/ 6432079 w 6761480"/>
              <a:gd name="connsiteY110" fmla="*/ 3976375 h 6776340"/>
              <a:gd name="connsiteX111" fmla="*/ 6410802 w 6761480"/>
              <a:gd name="connsiteY111" fmla="*/ 3826707 h 6776340"/>
              <a:gd name="connsiteX112" fmla="*/ 6408896 w 6761480"/>
              <a:gd name="connsiteY112" fmla="*/ 3825918 h 6776340"/>
              <a:gd name="connsiteX113" fmla="*/ 6408545 w 6761480"/>
              <a:gd name="connsiteY113" fmla="*/ 3825071 h 6776340"/>
              <a:gd name="connsiteX114" fmla="*/ 6366435 w 6761480"/>
              <a:gd name="connsiteY114" fmla="*/ 3833914 h 6776340"/>
              <a:gd name="connsiteX115" fmla="*/ 6398364 w 6761480"/>
              <a:gd name="connsiteY115" fmla="*/ 3724702 h 6776340"/>
              <a:gd name="connsiteX116" fmla="*/ 6074376 w 6761480"/>
              <a:gd name="connsiteY116" fmla="*/ 3584961 h 6776340"/>
              <a:gd name="connsiteX117" fmla="*/ 6074389 w 6761480"/>
              <a:gd name="connsiteY117" fmla="*/ 3585053 h 6776340"/>
              <a:gd name="connsiteX118" fmla="*/ 6074423 w 6761480"/>
              <a:gd name="connsiteY118" fmla="*/ 3584971 h 6776340"/>
              <a:gd name="connsiteX119" fmla="*/ 6074376 w 6761480"/>
              <a:gd name="connsiteY119" fmla="*/ 3584961 h 6776340"/>
              <a:gd name="connsiteX120" fmla="*/ 2136127 w 6761480"/>
              <a:gd name="connsiteY120" fmla="*/ 1258149 h 6776340"/>
              <a:gd name="connsiteX121" fmla="*/ 2092929 w 6761480"/>
              <a:gd name="connsiteY121" fmla="*/ 1399149 h 6776340"/>
              <a:gd name="connsiteX122" fmla="*/ 2049868 w 6761480"/>
              <a:gd name="connsiteY122" fmla="*/ 1328453 h 6776340"/>
              <a:gd name="connsiteX123" fmla="*/ 2048245 w 6761480"/>
              <a:gd name="connsiteY123" fmla="*/ 1329125 h 6776340"/>
              <a:gd name="connsiteX124" fmla="*/ 2047341 w 6761480"/>
              <a:gd name="connsiteY124" fmla="*/ 1328751 h 6776340"/>
              <a:gd name="connsiteX125" fmla="*/ 1952344 w 6761480"/>
              <a:gd name="connsiteY125" fmla="*/ 1396153 h 6776340"/>
              <a:gd name="connsiteX126" fmla="*/ 1367635 w 6761480"/>
              <a:gd name="connsiteY126" fmla="*/ 2171501 h 6776340"/>
              <a:gd name="connsiteX127" fmla="*/ 1248370 w 6761480"/>
              <a:gd name="connsiteY127" fmla="*/ 3526421 h 6776340"/>
              <a:gd name="connsiteX128" fmla="*/ 3248641 w 6761480"/>
              <a:gd name="connsiteY128" fmla="*/ 5902645 h 6776340"/>
              <a:gd name="connsiteX129" fmla="*/ 4589668 w 6761480"/>
              <a:gd name="connsiteY129" fmla="*/ 5988882 h 6776340"/>
              <a:gd name="connsiteX130" fmla="*/ 5526884 w 6761480"/>
              <a:gd name="connsiteY130" fmla="*/ 5409775 h 6776340"/>
              <a:gd name="connsiteX131" fmla="*/ 5958868 w 6761480"/>
              <a:gd name="connsiteY131" fmla="*/ 4505551 h 6776340"/>
              <a:gd name="connsiteX132" fmla="*/ 5996725 w 6761480"/>
              <a:gd name="connsiteY132" fmla="*/ 3783640 h 6776340"/>
              <a:gd name="connsiteX133" fmla="*/ 5965029 w 6761480"/>
              <a:gd name="connsiteY133" fmla="*/ 3556265 h 6776340"/>
              <a:gd name="connsiteX134" fmla="*/ 5960728 w 6761480"/>
              <a:gd name="connsiteY134" fmla="*/ 3554483 h 6776340"/>
              <a:gd name="connsiteX135" fmla="*/ 5919426 w 6761480"/>
              <a:gd name="connsiteY135" fmla="*/ 3565762 h 6776340"/>
              <a:gd name="connsiteX136" fmla="*/ 5951355 w 6761480"/>
              <a:gd name="connsiteY136" fmla="*/ 3450256 h 6776340"/>
              <a:gd name="connsiteX137" fmla="*/ 6031178 w 6761480"/>
              <a:gd name="connsiteY137" fmla="*/ 3588738 h 6776340"/>
              <a:gd name="connsiteX138" fmla="*/ 5976676 w 6761480"/>
              <a:gd name="connsiteY138" fmla="*/ 3555859 h 6776340"/>
              <a:gd name="connsiteX139" fmla="*/ 5976246 w 6761480"/>
              <a:gd name="connsiteY139" fmla="*/ 3556037 h 6776340"/>
              <a:gd name="connsiteX140" fmla="*/ 6009227 w 6761480"/>
              <a:gd name="connsiteY140" fmla="*/ 3785548 h 6776340"/>
              <a:gd name="connsiteX141" fmla="*/ 5972954 w 6761480"/>
              <a:gd name="connsiteY141" fmla="*/ 4517196 h 6776340"/>
              <a:gd name="connsiteX142" fmla="*/ 5538466 w 6761480"/>
              <a:gd name="connsiteY142" fmla="*/ 5427715 h 6776340"/>
              <a:gd name="connsiteX143" fmla="*/ 4593737 w 6761480"/>
              <a:gd name="connsiteY143" fmla="*/ 6014375 h 6776340"/>
              <a:gd name="connsiteX144" fmla="*/ 3241130 w 6761480"/>
              <a:gd name="connsiteY144" fmla="*/ 5929397 h 6776340"/>
              <a:gd name="connsiteX145" fmla="*/ 1220510 w 6761480"/>
              <a:gd name="connsiteY145" fmla="*/ 3528939 h 6776340"/>
              <a:gd name="connsiteX146" fmla="*/ 1343531 w 6761480"/>
              <a:gd name="connsiteY146" fmla="*/ 2162374 h 6776340"/>
              <a:gd name="connsiteX147" fmla="*/ 1935653 w 6761480"/>
              <a:gd name="connsiteY147" fmla="*/ 1382817 h 6776340"/>
              <a:gd name="connsiteX148" fmla="*/ 2034374 w 6761480"/>
              <a:gd name="connsiteY148" fmla="*/ 1313168 h 6776340"/>
              <a:gd name="connsiteX149" fmla="*/ 2035264 w 6761480"/>
              <a:gd name="connsiteY149" fmla="*/ 1313636 h 6776340"/>
              <a:gd name="connsiteX150" fmla="*/ 2035905 w 6761480"/>
              <a:gd name="connsiteY150" fmla="*/ 1312088 h 6776340"/>
              <a:gd name="connsiteX151" fmla="*/ 2034374 w 6761480"/>
              <a:gd name="connsiteY151" fmla="*/ 1313168 h 6776340"/>
              <a:gd name="connsiteX152" fmla="*/ 1947056 w 6761480"/>
              <a:gd name="connsiteY152" fmla="*/ 1267277 h 6776340"/>
              <a:gd name="connsiteX153" fmla="*/ 2136127 w 6761480"/>
              <a:gd name="connsiteY153" fmla="*/ 1258149 h 6776340"/>
              <a:gd name="connsiteX154" fmla="*/ 3236702 w 6761480"/>
              <a:gd name="connsiteY154" fmla="*/ 1253409 h 6776340"/>
              <a:gd name="connsiteX155" fmla="*/ 3887541 w 6761480"/>
              <a:gd name="connsiteY155" fmla="*/ 1342173 h 6776340"/>
              <a:gd name="connsiteX156" fmla="*/ 4002808 w 6761480"/>
              <a:gd name="connsiteY156" fmla="*/ 1380534 h 6776340"/>
              <a:gd name="connsiteX157" fmla="*/ 4003578 w 6761480"/>
              <a:gd name="connsiteY157" fmla="*/ 1382580 h 6776340"/>
              <a:gd name="connsiteX158" fmla="*/ 4004230 w 6761480"/>
              <a:gd name="connsiteY158" fmla="*/ 1381007 h 6776340"/>
              <a:gd name="connsiteX159" fmla="*/ 4002808 w 6761480"/>
              <a:gd name="connsiteY159" fmla="*/ 1380534 h 6776340"/>
              <a:gd name="connsiteX160" fmla="*/ 3980195 w 6761480"/>
              <a:gd name="connsiteY160" fmla="*/ 1320466 h 6776340"/>
              <a:gd name="connsiteX161" fmla="*/ 4101965 w 6761480"/>
              <a:gd name="connsiteY161" fmla="*/ 1423384 h 6776340"/>
              <a:gd name="connsiteX162" fmla="*/ 3982700 w 6761480"/>
              <a:gd name="connsiteY162" fmla="*/ 1438491 h 6776340"/>
              <a:gd name="connsiteX163" fmla="*/ 4003104 w 6761480"/>
              <a:gd name="connsiteY163" fmla="*/ 1393244 h 6776340"/>
              <a:gd name="connsiteX164" fmla="*/ 4004287 w 6761480"/>
              <a:gd name="connsiteY164" fmla="*/ 1393636 h 6776340"/>
              <a:gd name="connsiteX165" fmla="*/ 4003636 w 6761480"/>
              <a:gd name="connsiteY165" fmla="*/ 1392064 h 6776340"/>
              <a:gd name="connsiteX166" fmla="*/ 4003104 w 6761480"/>
              <a:gd name="connsiteY166" fmla="*/ 1393244 h 6776340"/>
              <a:gd name="connsiteX167" fmla="*/ 3888483 w 6761480"/>
              <a:gd name="connsiteY167" fmla="*/ 1355281 h 6776340"/>
              <a:gd name="connsiteX168" fmla="*/ 2990703 w 6761480"/>
              <a:gd name="connsiteY168" fmla="*/ 1293714 h 6776340"/>
              <a:gd name="connsiteX169" fmla="*/ 2061312 w 6761480"/>
              <a:gd name="connsiteY169" fmla="*/ 1828443 h 6776340"/>
              <a:gd name="connsiteX170" fmla="*/ 1676284 w 6761480"/>
              <a:gd name="connsiteY170" fmla="*/ 3067857 h 6776340"/>
              <a:gd name="connsiteX171" fmla="*/ 2265722 w 6761480"/>
              <a:gd name="connsiteY171" fmla="*/ 4584234 h 6776340"/>
              <a:gd name="connsiteX172" fmla="*/ 3619583 w 6761480"/>
              <a:gd name="connsiteY172" fmla="*/ 5502621 h 6776340"/>
              <a:gd name="connsiteX173" fmla="*/ 4928994 w 6761480"/>
              <a:gd name="connsiteY173" fmla="*/ 5387115 h 6776340"/>
              <a:gd name="connsiteX174" fmla="*/ 5648966 w 6761480"/>
              <a:gd name="connsiteY174" fmla="*/ 4561573 h 6776340"/>
              <a:gd name="connsiteX175" fmla="*/ 5763205 w 6761480"/>
              <a:gd name="connsiteY175" fmla="*/ 3646163 h 6776340"/>
              <a:gd name="connsiteX176" fmla="*/ 5747424 w 6761480"/>
              <a:gd name="connsiteY176" fmla="*/ 3524548 h 6776340"/>
              <a:gd name="connsiteX177" fmla="*/ 5748357 w 6761480"/>
              <a:gd name="connsiteY177" fmla="*/ 3524334 h 6776340"/>
              <a:gd name="connsiteX178" fmla="*/ 5747342 w 6761480"/>
              <a:gd name="connsiteY178" fmla="*/ 3523913 h 6776340"/>
              <a:gd name="connsiteX179" fmla="*/ 5747424 w 6761480"/>
              <a:gd name="connsiteY179" fmla="*/ 3524548 h 6776340"/>
              <a:gd name="connsiteX180" fmla="*/ 5700930 w 6761480"/>
              <a:gd name="connsiteY180" fmla="*/ 3535233 h 6776340"/>
              <a:gd name="connsiteX181" fmla="*/ 5739119 w 6761480"/>
              <a:gd name="connsiteY181" fmla="*/ 3418468 h 6776340"/>
              <a:gd name="connsiteX182" fmla="*/ 5818003 w 6761480"/>
              <a:gd name="connsiteY182" fmla="*/ 3561985 h 6776340"/>
              <a:gd name="connsiteX183" fmla="*/ 5760509 w 6761480"/>
              <a:gd name="connsiteY183" fmla="*/ 3525675 h 6776340"/>
              <a:gd name="connsiteX184" fmla="*/ 5760127 w 6761480"/>
              <a:gd name="connsiteY184" fmla="*/ 3525833 h 6776340"/>
              <a:gd name="connsiteX185" fmla="*/ 5776440 w 6761480"/>
              <a:gd name="connsiteY185" fmla="*/ 3649679 h 6776340"/>
              <a:gd name="connsiteX186" fmla="*/ 5663053 w 6761480"/>
              <a:gd name="connsiteY186" fmla="*/ 4572904 h 6776340"/>
              <a:gd name="connsiteX187" fmla="*/ 4937759 w 6761480"/>
              <a:gd name="connsiteY187" fmla="*/ 5407257 h 6776340"/>
              <a:gd name="connsiteX188" fmla="*/ 3615827 w 6761480"/>
              <a:gd name="connsiteY188" fmla="*/ 5527800 h 6776340"/>
              <a:gd name="connsiteX189" fmla="*/ 2246627 w 6761480"/>
              <a:gd name="connsiteY189" fmla="*/ 4600915 h 6776340"/>
              <a:gd name="connsiteX190" fmla="*/ 1652180 w 6761480"/>
              <a:gd name="connsiteY190" fmla="*/ 3067857 h 6776340"/>
              <a:gd name="connsiteX191" fmla="*/ 2043470 w 6761480"/>
              <a:gd name="connsiteY191" fmla="*/ 1817113 h 6776340"/>
              <a:gd name="connsiteX192" fmla="*/ 2981938 w 6761480"/>
              <a:gd name="connsiteY192" fmla="*/ 1279866 h 6776340"/>
              <a:gd name="connsiteX193" fmla="*/ 3236702 w 6761480"/>
              <a:gd name="connsiteY193" fmla="*/ 1253409 h 6776340"/>
              <a:gd name="connsiteX194" fmla="*/ 2931227 w 6761480"/>
              <a:gd name="connsiteY194" fmla="*/ 1076549 h 6776340"/>
              <a:gd name="connsiteX195" fmla="*/ 3094943 w 6761480"/>
              <a:gd name="connsiteY195" fmla="*/ 1131313 h 6776340"/>
              <a:gd name="connsiteX196" fmla="*/ 3003539 w 6761480"/>
              <a:gd name="connsiteY196" fmla="*/ 1215031 h 6776340"/>
              <a:gd name="connsiteX197" fmla="*/ 2994665 w 6761480"/>
              <a:gd name="connsiteY197" fmla="*/ 1150900 h 6776340"/>
              <a:gd name="connsiteX198" fmla="*/ 2885088 w 6761480"/>
              <a:gd name="connsiteY198" fmla="*/ 1166387 h 6776340"/>
              <a:gd name="connsiteX199" fmla="*/ 2103259 w 6761480"/>
              <a:gd name="connsiteY199" fmla="*/ 1517488 h 6776340"/>
              <a:gd name="connsiteX200" fmla="*/ 1511316 w 6761480"/>
              <a:gd name="connsiteY200" fmla="*/ 2462313 h 6776340"/>
              <a:gd name="connsiteX201" fmla="*/ 1591452 w 6761480"/>
              <a:gd name="connsiteY201" fmla="*/ 3855315 h 6776340"/>
              <a:gd name="connsiteX202" fmla="*/ 2495487 w 6761480"/>
              <a:gd name="connsiteY202" fmla="*/ 5169950 h 6776340"/>
              <a:gd name="connsiteX203" fmla="*/ 3838079 w 6761480"/>
              <a:gd name="connsiteY203" fmla="*/ 5790915 h 6776340"/>
              <a:gd name="connsiteX204" fmla="*/ 5019147 w 6761480"/>
              <a:gd name="connsiteY204" fmla="*/ 5577527 h 6776340"/>
              <a:gd name="connsiteX205" fmla="*/ 5706251 w 6761480"/>
              <a:gd name="connsiteY205" fmla="*/ 4819339 h 6776340"/>
              <a:gd name="connsiteX206" fmla="*/ 5887482 w 6761480"/>
              <a:gd name="connsiteY206" fmla="*/ 4115264 h 6776340"/>
              <a:gd name="connsiteX207" fmla="*/ 5891349 w 6761480"/>
              <a:gd name="connsiteY207" fmla="*/ 3878618 h 6776340"/>
              <a:gd name="connsiteX208" fmla="*/ 5893101 w 6761480"/>
              <a:gd name="connsiteY208" fmla="*/ 3878544 h 6776340"/>
              <a:gd name="connsiteX209" fmla="*/ 5891417 w 6761480"/>
              <a:gd name="connsiteY209" fmla="*/ 3874479 h 6776340"/>
              <a:gd name="connsiteX210" fmla="*/ 5891349 w 6761480"/>
              <a:gd name="connsiteY210" fmla="*/ 3878618 h 6776340"/>
              <a:gd name="connsiteX211" fmla="*/ 5839603 w 6761480"/>
              <a:gd name="connsiteY211" fmla="*/ 3880809 h 6776340"/>
              <a:gd name="connsiteX212" fmla="*/ 5894070 w 6761480"/>
              <a:gd name="connsiteY212" fmla="*/ 3774115 h 6776340"/>
              <a:gd name="connsiteX213" fmla="*/ 5960120 w 6761480"/>
              <a:gd name="connsiteY213" fmla="*/ 3928963 h 6776340"/>
              <a:gd name="connsiteX214" fmla="*/ 5905767 w 6761480"/>
              <a:gd name="connsiteY214" fmla="*/ 3883843 h 6776340"/>
              <a:gd name="connsiteX215" fmla="*/ 5903872 w 6761480"/>
              <a:gd name="connsiteY215" fmla="*/ 3884628 h 6776340"/>
              <a:gd name="connsiteX216" fmla="*/ 5900179 w 6761480"/>
              <a:gd name="connsiteY216" fmla="*/ 4122498 h 6776340"/>
              <a:gd name="connsiteX217" fmla="*/ 5718772 w 6761480"/>
              <a:gd name="connsiteY217" fmla="*/ 4831928 h 6776340"/>
              <a:gd name="connsiteX218" fmla="*/ 5027912 w 6761480"/>
              <a:gd name="connsiteY218" fmla="*/ 5598929 h 6776340"/>
              <a:gd name="connsiteX219" fmla="*/ 3836514 w 6761480"/>
              <a:gd name="connsiteY219" fmla="*/ 5816094 h 6776340"/>
              <a:gd name="connsiteX220" fmla="*/ 2478896 w 6761480"/>
              <a:gd name="connsiteY220" fmla="*/ 5190093 h 6776340"/>
              <a:gd name="connsiteX221" fmla="*/ 1565784 w 6761480"/>
              <a:gd name="connsiteY221" fmla="*/ 3861610 h 6776340"/>
              <a:gd name="connsiteX222" fmla="*/ 1487213 w 6761480"/>
              <a:gd name="connsiteY222" fmla="*/ 2456018 h 6776340"/>
              <a:gd name="connsiteX223" fmla="*/ 2087920 w 6761480"/>
              <a:gd name="connsiteY223" fmla="*/ 1503325 h 6776340"/>
              <a:gd name="connsiteX224" fmla="*/ 2876635 w 6761480"/>
              <a:gd name="connsiteY224" fmla="*/ 1152526 h 6776340"/>
              <a:gd name="connsiteX225" fmla="*/ 2988108 w 6761480"/>
              <a:gd name="connsiteY225" fmla="*/ 1136901 h 6776340"/>
              <a:gd name="connsiteX226" fmla="*/ 2989747 w 6761480"/>
              <a:gd name="connsiteY226" fmla="*/ 1138638 h 6776340"/>
              <a:gd name="connsiteX227" fmla="*/ 2989613 w 6761480"/>
              <a:gd name="connsiteY227" fmla="*/ 1138319 h 6776340"/>
              <a:gd name="connsiteX228" fmla="*/ 2990330 w 6761480"/>
              <a:gd name="connsiteY228" fmla="*/ 1136590 h 6776340"/>
              <a:gd name="connsiteX229" fmla="*/ 2988108 w 6761480"/>
              <a:gd name="connsiteY229" fmla="*/ 1136901 h 6776340"/>
              <a:gd name="connsiteX230" fmla="*/ 2143640 w 6761480"/>
              <a:gd name="connsiteY230" fmla="*/ 968596 h 6776340"/>
              <a:gd name="connsiteX231" fmla="*/ 2329269 w 6761480"/>
              <a:gd name="connsiteY231" fmla="*/ 989054 h 6776340"/>
              <a:gd name="connsiteX232" fmla="*/ 2263218 w 6761480"/>
              <a:gd name="connsiteY232" fmla="*/ 1105819 h 6776340"/>
              <a:gd name="connsiteX233" fmla="*/ 2232102 w 6761480"/>
              <a:gd name="connsiteY233" fmla="*/ 1034718 h 6776340"/>
              <a:gd name="connsiteX234" fmla="*/ 2236314 w 6761480"/>
              <a:gd name="connsiteY234" fmla="*/ 1032885 h 6776340"/>
              <a:gd name="connsiteX235" fmla="*/ 2233983 w 6761480"/>
              <a:gd name="connsiteY235" fmla="*/ 1033850 h 6776340"/>
              <a:gd name="connsiteX236" fmla="*/ 2231222 w 6761480"/>
              <a:gd name="connsiteY236" fmla="*/ 1032706 h 6776340"/>
              <a:gd name="connsiteX237" fmla="*/ 2232102 w 6761480"/>
              <a:gd name="connsiteY237" fmla="*/ 1034718 h 6776340"/>
              <a:gd name="connsiteX238" fmla="*/ 2111684 w 6761480"/>
              <a:gd name="connsiteY238" fmla="*/ 1087132 h 6776340"/>
              <a:gd name="connsiteX239" fmla="*/ 1331010 w 6761480"/>
              <a:gd name="connsiteY239" fmla="*/ 1762350 h 6776340"/>
              <a:gd name="connsiteX240" fmla="*/ 952555 w 6761480"/>
              <a:gd name="connsiteY240" fmla="*/ 3150632 h 6776340"/>
              <a:gd name="connsiteX241" fmla="*/ 1507560 w 6761480"/>
              <a:gd name="connsiteY241" fmla="*/ 4833187 h 6776340"/>
              <a:gd name="connsiteX242" fmla="*/ 2899298 w 6761480"/>
              <a:gd name="connsiteY242" fmla="*/ 6044904 h 6776340"/>
              <a:gd name="connsiteX243" fmla="*/ 4451308 w 6761480"/>
              <a:gd name="connsiteY243" fmla="*/ 6264587 h 6776340"/>
              <a:gd name="connsiteX244" fmla="*/ 5557561 w 6761480"/>
              <a:gd name="connsiteY244" fmla="*/ 5657469 h 6776340"/>
              <a:gd name="connsiteX245" fmla="*/ 6065611 w 6761480"/>
              <a:gd name="connsiteY245" fmla="*/ 4656622 h 6776340"/>
              <a:gd name="connsiteX246" fmla="*/ 6111392 w 6761480"/>
              <a:gd name="connsiteY246" fmla="*/ 3856550 h 6776340"/>
              <a:gd name="connsiteX247" fmla="*/ 6076241 w 6761480"/>
              <a:gd name="connsiteY247" fmla="*/ 3598641 h 6776340"/>
              <a:gd name="connsiteX248" fmla="*/ 6078930 w 6761480"/>
              <a:gd name="connsiteY248" fmla="*/ 3597974 h 6776340"/>
              <a:gd name="connsiteX249" fmla="*/ 6077344 w 6761480"/>
              <a:gd name="connsiteY249" fmla="*/ 3597317 h 6776340"/>
              <a:gd name="connsiteX250" fmla="*/ 6075431 w 6761480"/>
              <a:gd name="connsiteY250" fmla="*/ 3592700 h 6776340"/>
              <a:gd name="connsiteX251" fmla="*/ 6076241 w 6761480"/>
              <a:gd name="connsiteY251" fmla="*/ 3598641 h 6776340"/>
              <a:gd name="connsiteX252" fmla="*/ 6029926 w 6761480"/>
              <a:gd name="connsiteY252" fmla="*/ 3610139 h 6776340"/>
              <a:gd name="connsiteX253" fmla="*/ 6061855 w 6761480"/>
              <a:gd name="connsiteY253" fmla="*/ 3495892 h 6776340"/>
              <a:gd name="connsiteX254" fmla="*/ 6140426 w 6761480"/>
              <a:gd name="connsiteY254" fmla="*/ 3635633 h 6776340"/>
              <a:gd name="connsiteX255" fmla="*/ 6088005 w 6761480"/>
              <a:gd name="connsiteY255" fmla="*/ 3602243 h 6776340"/>
              <a:gd name="connsiteX256" fmla="*/ 6087834 w 6761480"/>
              <a:gd name="connsiteY256" fmla="*/ 3601006 h 6776340"/>
              <a:gd name="connsiteX257" fmla="*/ 6087042 w 6761480"/>
              <a:gd name="connsiteY257" fmla="*/ 3601334 h 6776340"/>
              <a:gd name="connsiteX258" fmla="*/ 6085715 w 6761480"/>
              <a:gd name="connsiteY258" fmla="*/ 3600784 h 6776340"/>
              <a:gd name="connsiteX259" fmla="*/ 6088005 w 6761480"/>
              <a:gd name="connsiteY259" fmla="*/ 3602243 h 6776340"/>
              <a:gd name="connsiteX260" fmla="*/ 6123869 w 6761480"/>
              <a:gd name="connsiteY260" fmla="*/ 3860961 h 6776340"/>
              <a:gd name="connsiteX261" fmla="*/ 6078133 w 6761480"/>
              <a:gd name="connsiteY261" fmla="*/ 4667008 h 6776340"/>
              <a:gd name="connsiteX262" fmla="*/ 5568830 w 6761480"/>
              <a:gd name="connsiteY262" fmla="*/ 5676668 h 6776340"/>
              <a:gd name="connsiteX263" fmla="*/ 4455064 w 6761480"/>
              <a:gd name="connsiteY263" fmla="*/ 6292598 h 6776340"/>
              <a:gd name="connsiteX264" fmla="*/ 2888031 w 6761480"/>
              <a:gd name="connsiteY264" fmla="*/ 6074174 h 6776340"/>
              <a:gd name="connsiteX265" fmla="*/ 1482204 w 6761480"/>
              <a:gd name="connsiteY265" fmla="*/ 4851127 h 6776340"/>
              <a:gd name="connsiteX266" fmla="*/ 923443 w 6761480"/>
              <a:gd name="connsiteY266" fmla="*/ 3151890 h 6776340"/>
              <a:gd name="connsiteX267" fmla="*/ 1309411 w 6761480"/>
              <a:gd name="connsiteY267" fmla="*/ 1752278 h 6776340"/>
              <a:gd name="connsiteX268" fmla="*/ 2097908 w 6761480"/>
              <a:gd name="connsiteY268" fmla="*/ 1073394 h 6776340"/>
              <a:gd name="connsiteX269" fmla="*/ 2219486 w 6761480"/>
              <a:gd name="connsiteY269" fmla="*/ 1020743 h 6776340"/>
              <a:gd name="connsiteX270" fmla="*/ 2220931 w 6761480"/>
              <a:gd name="connsiteY270" fmla="*/ 1021737 h 6776340"/>
              <a:gd name="connsiteX271" fmla="*/ 2220363 w 6761480"/>
              <a:gd name="connsiteY271" fmla="*/ 1020364 h 6776340"/>
              <a:gd name="connsiteX272" fmla="*/ 2219486 w 6761480"/>
              <a:gd name="connsiteY272" fmla="*/ 1020743 h 6776340"/>
              <a:gd name="connsiteX273" fmla="*/ 3122802 w 6761480"/>
              <a:gd name="connsiteY273" fmla="*/ 691947 h 6776340"/>
              <a:gd name="connsiteX274" fmla="*/ 3272744 w 6761480"/>
              <a:gd name="connsiteY274" fmla="*/ 766853 h 6776340"/>
              <a:gd name="connsiteX275" fmla="*/ 3170072 w 6761480"/>
              <a:gd name="connsiteY275" fmla="*/ 820043 h 6776340"/>
              <a:gd name="connsiteX276" fmla="*/ 3172125 w 6761480"/>
              <a:gd name="connsiteY276" fmla="*/ 769175 h 6776340"/>
              <a:gd name="connsiteX277" fmla="*/ 3172023 w 6761480"/>
              <a:gd name="connsiteY277" fmla="*/ 769133 h 6776340"/>
              <a:gd name="connsiteX278" fmla="*/ 3170679 w 6761480"/>
              <a:gd name="connsiteY278" fmla="*/ 765893 h 6776340"/>
              <a:gd name="connsiteX279" fmla="*/ 3030241 w 6761480"/>
              <a:gd name="connsiteY279" fmla="*/ 757282 h 6776340"/>
              <a:gd name="connsiteX280" fmla="*/ 1978672 w 6761480"/>
              <a:gd name="connsiteY280" fmla="*/ 962302 h 6776340"/>
              <a:gd name="connsiteX281" fmla="*/ 975406 w 6761480"/>
              <a:gd name="connsiteY281" fmla="*/ 1914995 h 6776340"/>
              <a:gd name="connsiteX282" fmla="*/ 732807 w 6761480"/>
              <a:gd name="connsiteY282" fmla="*/ 3654831 h 6776340"/>
              <a:gd name="connsiteX283" fmla="*/ 1716978 w 6761480"/>
              <a:gd name="connsiteY283" fmla="*/ 5545739 h 6776340"/>
              <a:gd name="connsiteX284" fmla="*/ 3515344 w 6761480"/>
              <a:gd name="connsiteY284" fmla="*/ 6528646 h 6776340"/>
              <a:gd name="connsiteX285" fmla="*/ 5125578 w 6761480"/>
              <a:gd name="connsiteY285" fmla="*/ 6268363 h 6776340"/>
              <a:gd name="connsiteX286" fmla="*/ 6017404 w 6761480"/>
              <a:gd name="connsiteY286" fmla="*/ 5261222 h 6776340"/>
              <a:gd name="connsiteX287" fmla="*/ 6233599 w 6761480"/>
              <a:gd name="connsiteY287" fmla="*/ 4201219 h 6776340"/>
              <a:gd name="connsiteX288" fmla="*/ 6229720 w 6761480"/>
              <a:gd name="connsiteY288" fmla="*/ 4057751 h 6776340"/>
              <a:gd name="connsiteX289" fmla="*/ 6182372 w 6761480"/>
              <a:gd name="connsiteY289" fmla="*/ 4059891 h 6776340"/>
              <a:gd name="connsiteX290" fmla="*/ 6233083 w 6761480"/>
              <a:gd name="connsiteY290" fmla="*/ 3954456 h 6776340"/>
              <a:gd name="connsiteX291" fmla="*/ 6296628 w 6761480"/>
              <a:gd name="connsiteY291" fmla="*/ 4108045 h 6776340"/>
              <a:gd name="connsiteX292" fmla="*/ 6241222 w 6761480"/>
              <a:gd name="connsiteY292" fmla="*/ 4060083 h 6776340"/>
              <a:gd name="connsiteX293" fmla="*/ 6241160 w 6761480"/>
              <a:gd name="connsiteY293" fmla="*/ 4057799 h 6776340"/>
              <a:gd name="connsiteX294" fmla="*/ 6239418 w 6761480"/>
              <a:gd name="connsiteY294" fmla="*/ 4058521 h 6776340"/>
              <a:gd name="connsiteX295" fmla="*/ 6245232 w 6761480"/>
              <a:gd name="connsiteY295" fmla="*/ 4207464 h 6776340"/>
              <a:gd name="connsiteX296" fmla="*/ 6028674 w 6761480"/>
              <a:gd name="connsiteY296" fmla="*/ 5275070 h 6776340"/>
              <a:gd name="connsiteX297" fmla="*/ 5132151 w 6761480"/>
              <a:gd name="connsiteY297" fmla="*/ 6292598 h 6776340"/>
              <a:gd name="connsiteX298" fmla="*/ 3511587 w 6761480"/>
              <a:gd name="connsiteY298" fmla="*/ 6557916 h 6776340"/>
              <a:gd name="connsiteX299" fmla="*/ 1696631 w 6761480"/>
              <a:gd name="connsiteY299" fmla="*/ 5567456 h 6776340"/>
              <a:gd name="connsiteX300" fmla="*/ 704947 w 6761480"/>
              <a:gd name="connsiteY300" fmla="*/ 3658608 h 6776340"/>
              <a:gd name="connsiteX301" fmla="*/ 952555 w 6761480"/>
              <a:gd name="connsiteY301" fmla="*/ 1904608 h 6776340"/>
              <a:gd name="connsiteX302" fmla="*/ 1965838 w 6761480"/>
              <a:gd name="connsiteY302" fmla="*/ 947195 h 6776340"/>
              <a:gd name="connsiteX303" fmla="*/ 2867457 w 6761480"/>
              <a:gd name="connsiteY303" fmla="*/ 742363 h 6776340"/>
              <a:gd name="connsiteX304" fmla="*/ 3024189 w 6761480"/>
              <a:gd name="connsiteY304" fmla="*/ 742717 h 6776340"/>
              <a:gd name="connsiteX305" fmla="*/ 3167903 w 6761480"/>
              <a:gd name="connsiteY305" fmla="*/ 751838 h 6776340"/>
              <a:gd name="connsiteX306" fmla="*/ 2233794 w 6761480"/>
              <a:gd name="connsiteY306" fmla="*/ 617041 h 6776340"/>
              <a:gd name="connsiteX307" fmla="*/ 2412847 w 6761480"/>
              <a:gd name="connsiteY307" fmla="*/ 658900 h 6776340"/>
              <a:gd name="connsiteX308" fmla="*/ 2330520 w 6761480"/>
              <a:gd name="connsiteY308" fmla="*/ 752690 h 6776340"/>
              <a:gd name="connsiteX309" fmla="*/ 2311469 w 6761480"/>
              <a:gd name="connsiteY309" fmla="*/ 687733 h 6776340"/>
              <a:gd name="connsiteX310" fmla="*/ 2312797 w 6761480"/>
              <a:gd name="connsiteY310" fmla="*/ 687417 h 6776340"/>
              <a:gd name="connsiteX311" fmla="*/ 2311180 w 6761480"/>
              <a:gd name="connsiteY311" fmla="*/ 686748 h 6776340"/>
              <a:gd name="connsiteX312" fmla="*/ 2311469 w 6761480"/>
              <a:gd name="connsiteY312" fmla="*/ 687733 h 6776340"/>
              <a:gd name="connsiteX313" fmla="*/ 2172801 w 6761480"/>
              <a:gd name="connsiteY313" fmla="*/ 720716 h 6776340"/>
              <a:gd name="connsiteX314" fmla="*/ 1214249 w 6761480"/>
              <a:gd name="connsiteY314" fmla="*/ 1244301 h 6776340"/>
              <a:gd name="connsiteX315" fmla="*/ 483947 w 6761480"/>
              <a:gd name="connsiteY315" fmla="*/ 2537219 h 6776340"/>
              <a:gd name="connsiteX316" fmla="*/ 641402 w 6761480"/>
              <a:gd name="connsiteY316" fmla="*/ 4403893 h 6776340"/>
              <a:gd name="connsiteX317" fmla="*/ 1901040 w 6761480"/>
              <a:gd name="connsiteY317" fmla="*/ 6110997 h 6776340"/>
              <a:gd name="connsiteX318" fmla="*/ 3299352 w 6761480"/>
              <a:gd name="connsiteY318" fmla="*/ 6775081 h 6776340"/>
              <a:gd name="connsiteX319" fmla="*/ 3157236 w 6761480"/>
              <a:gd name="connsiteY319" fmla="*/ 6775081 h 6776340"/>
              <a:gd name="connsiteX320" fmla="*/ 1882258 w 6761480"/>
              <a:gd name="connsiteY320" fmla="*/ 6137435 h 6776340"/>
              <a:gd name="connsiteX321" fmla="*/ 610725 w 6761480"/>
              <a:gd name="connsiteY321" fmla="*/ 4415538 h 6776340"/>
              <a:gd name="connsiteX322" fmla="*/ 454522 w 6761480"/>
              <a:gd name="connsiteY322" fmla="*/ 2532184 h 6776340"/>
              <a:gd name="connsiteX323" fmla="*/ 1193902 w 6761480"/>
              <a:gd name="connsiteY323" fmla="*/ 1231712 h 6776340"/>
              <a:gd name="connsiteX324" fmla="*/ 2161566 w 6761480"/>
              <a:gd name="connsiteY324" fmla="*/ 706569 h 6776340"/>
              <a:gd name="connsiteX325" fmla="*/ 2302016 w 6761480"/>
              <a:gd name="connsiteY325" fmla="*/ 673345 h 6776340"/>
              <a:gd name="connsiteX326" fmla="*/ 2303894 w 6761480"/>
              <a:gd name="connsiteY326" fmla="*/ 674895 h 6776340"/>
              <a:gd name="connsiteX327" fmla="*/ 2304810 w 6761480"/>
              <a:gd name="connsiteY327" fmla="*/ 672684 h 6776340"/>
              <a:gd name="connsiteX328" fmla="*/ 1569853 w 6761480"/>
              <a:gd name="connsiteY328" fmla="*/ 478559 h 6776340"/>
              <a:gd name="connsiteX329" fmla="*/ 1766437 w 6761480"/>
              <a:gd name="connsiteY329" fmla="*/ 501220 h 6776340"/>
              <a:gd name="connsiteX330" fmla="*/ 1696631 w 6761480"/>
              <a:gd name="connsiteY330" fmla="*/ 617041 h 6776340"/>
              <a:gd name="connsiteX331" fmla="*/ 1664270 w 6761480"/>
              <a:gd name="connsiteY331" fmla="*/ 547240 h 6776340"/>
              <a:gd name="connsiteX332" fmla="*/ 1665289 w 6761480"/>
              <a:gd name="connsiteY332" fmla="*/ 546848 h 6776340"/>
              <a:gd name="connsiteX333" fmla="*/ 1663803 w 6761480"/>
              <a:gd name="connsiteY333" fmla="*/ 546232 h 6776340"/>
              <a:gd name="connsiteX334" fmla="*/ 1664270 w 6761480"/>
              <a:gd name="connsiteY334" fmla="*/ 547240 h 6776340"/>
              <a:gd name="connsiteX335" fmla="*/ 1515379 w 6761480"/>
              <a:gd name="connsiteY335" fmla="*/ 604535 h 6776340"/>
              <a:gd name="connsiteX336" fmla="*/ 521824 w 6761480"/>
              <a:gd name="connsiteY336" fmla="*/ 1328020 h 6776340"/>
              <a:gd name="connsiteX337" fmla="*/ 0 w 6761480"/>
              <a:gd name="connsiteY337" fmla="*/ 2248925 h 6776340"/>
              <a:gd name="connsiteX338" fmla="*/ 0 w 6761480"/>
              <a:gd name="connsiteY338" fmla="*/ 2161115 h 6776340"/>
              <a:gd name="connsiteX339" fmla="*/ 1252 w 6761480"/>
              <a:gd name="connsiteY339" fmla="*/ 2161115 h 6776340"/>
              <a:gd name="connsiteX340" fmla="*/ 498972 w 6761480"/>
              <a:gd name="connsiteY340" fmla="*/ 1316690 h 6776340"/>
              <a:gd name="connsiteX341" fmla="*/ 1501760 w 6761480"/>
              <a:gd name="connsiteY341" fmla="*/ 590081 h 6776340"/>
              <a:gd name="connsiteX342" fmla="*/ 1652156 w 6761480"/>
              <a:gd name="connsiteY342" fmla="*/ 532864 h 6776340"/>
              <a:gd name="connsiteX343" fmla="*/ 1653585 w 6761480"/>
              <a:gd name="connsiteY343" fmla="*/ 533807 h 6776340"/>
              <a:gd name="connsiteX344" fmla="*/ 1654316 w 6761480"/>
              <a:gd name="connsiteY344" fmla="*/ 532042 h 6776340"/>
              <a:gd name="connsiteX345" fmla="*/ 1652156 w 6761480"/>
              <a:gd name="connsiteY345" fmla="*/ 532864 h 6776340"/>
              <a:gd name="connsiteX346" fmla="*/ 2350867 w 6761480"/>
              <a:gd name="connsiteY346" fmla="*/ 454325 h 6776340"/>
              <a:gd name="connsiteX347" fmla="*/ 2523347 w 6761480"/>
              <a:gd name="connsiteY347" fmla="*/ 506570 h 6776340"/>
              <a:gd name="connsiteX348" fmla="*/ 2434446 w 6761480"/>
              <a:gd name="connsiteY348" fmla="*/ 587771 h 6776340"/>
              <a:gd name="connsiteX349" fmla="*/ 2420975 w 6761480"/>
              <a:gd name="connsiteY349" fmla="*/ 525119 h 6776340"/>
              <a:gd name="connsiteX350" fmla="*/ 2421313 w 6761480"/>
              <a:gd name="connsiteY350" fmla="*/ 525070 h 6776340"/>
              <a:gd name="connsiteX351" fmla="*/ 2420928 w 6761480"/>
              <a:gd name="connsiteY351" fmla="*/ 524910 h 6776340"/>
              <a:gd name="connsiteX352" fmla="*/ 2420975 w 6761480"/>
              <a:gd name="connsiteY352" fmla="*/ 525119 h 6776340"/>
              <a:gd name="connsiteX353" fmla="*/ 2258839 w 6761480"/>
              <a:gd name="connsiteY353" fmla="*/ 548648 h 6776340"/>
              <a:gd name="connsiteX354" fmla="*/ 1125348 w 6761480"/>
              <a:gd name="connsiteY354" fmla="*/ 1050112 h 6776340"/>
              <a:gd name="connsiteX355" fmla="*/ 217244 w 6761480"/>
              <a:gd name="connsiteY355" fmla="*/ 2492842 h 6776340"/>
              <a:gd name="connsiteX356" fmla="*/ 422906 w 6761480"/>
              <a:gd name="connsiteY356" fmla="*/ 4684633 h 6776340"/>
              <a:gd name="connsiteX357" fmla="*/ 2023123 w 6761480"/>
              <a:gd name="connsiteY357" fmla="*/ 6580892 h 6776340"/>
              <a:gd name="connsiteX358" fmla="*/ 2365892 w 6761480"/>
              <a:gd name="connsiteY358" fmla="*/ 6775081 h 6776340"/>
              <a:gd name="connsiteX359" fmla="*/ 2288574 w 6761480"/>
              <a:gd name="connsiteY359" fmla="*/ 6775081 h 6776340"/>
              <a:gd name="connsiteX360" fmla="*/ 2005280 w 6761480"/>
              <a:gd name="connsiteY360" fmla="*/ 6611106 h 6776340"/>
              <a:gd name="connsiteX361" fmla="*/ 391289 w 6761480"/>
              <a:gd name="connsiteY361" fmla="*/ 4698796 h 6776340"/>
              <a:gd name="connsiteX362" fmla="*/ 186567 w 6761480"/>
              <a:gd name="connsiteY362" fmla="*/ 2488750 h 6776340"/>
              <a:gd name="connsiteX363" fmla="*/ 1106253 w 6761480"/>
              <a:gd name="connsiteY363" fmla="*/ 1037208 h 6776340"/>
              <a:gd name="connsiteX364" fmla="*/ 2248855 w 6761480"/>
              <a:gd name="connsiteY364" fmla="*/ 534350 h 6776340"/>
              <a:gd name="connsiteX365" fmla="*/ 2412175 w 6761480"/>
              <a:gd name="connsiteY365" fmla="*/ 511182 h 6776340"/>
              <a:gd name="connsiteX366" fmla="*/ 2413618 w 6761480"/>
              <a:gd name="connsiteY366" fmla="*/ 512520 h 6776340"/>
              <a:gd name="connsiteX367" fmla="*/ 2414296 w 6761480"/>
              <a:gd name="connsiteY367" fmla="*/ 510881 h 6776340"/>
              <a:gd name="connsiteX368" fmla="*/ 2412175 w 6761480"/>
              <a:gd name="connsiteY368" fmla="*/ 511182 h 6776340"/>
              <a:gd name="connsiteX369" fmla="*/ 2706471 w 6761480"/>
              <a:gd name="connsiteY369" fmla="*/ 194042 h 6776340"/>
              <a:gd name="connsiteX370" fmla="*/ 2862673 w 6761480"/>
              <a:gd name="connsiteY370" fmla="*/ 266430 h 6776340"/>
              <a:gd name="connsiteX371" fmla="*/ 2760938 w 6761480"/>
              <a:gd name="connsiteY371" fmla="*/ 319620 h 6776340"/>
              <a:gd name="connsiteX372" fmla="*/ 2759868 w 6761480"/>
              <a:gd name="connsiteY372" fmla="*/ 267724 h 6776340"/>
              <a:gd name="connsiteX373" fmla="*/ 2759125 w 6761480"/>
              <a:gd name="connsiteY373" fmla="*/ 267416 h 6776340"/>
              <a:gd name="connsiteX374" fmla="*/ 2758932 w 6761480"/>
              <a:gd name="connsiteY374" fmla="*/ 266947 h 6776340"/>
              <a:gd name="connsiteX375" fmla="*/ 2609322 w 6761480"/>
              <a:gd name="connsiteY375" fmla="*/ 259473 h 6776340"/>
              <a:gd name="connsiteX376" fmla="*/ 1482204 w 6761480"/>
              <a:gd name="connsiteY376" fmla="*/ 436700 h 6776340"/>
              <a:gd name="connsiteX377" fmla="*/ 255121 w 6761480"/>
              <a:gd name="connsiteY377" fmla="*/ 1277348 h 6776340"/>
              <a:gd name="connsiteX378" fmla="*/ 1252 w 6761480"/>
              <a:gd name="connsiteY378" fmla="*/ 1625441 h 6776340"/>
              <a:gd name="connsiteX379" fmla="*/ 1252 w 6761480"/>
              <a:gd name="connsiteY379" fmla="*/ 1573196 h 6776340"/>
              <a:gd name="connsiteX380" fmla="*/ 231017 w 6761480"/>
              <a:gd name="connsiteY380" fmla="*/ 1266018 h 6776340"/>
              <a:gd name="connsiteX381" fmla="*/ 1468118 w 6761480"/>
              <a:gd name="connsiteY381" fmla="*/ 422537 h 6776340"/>
              <a:gd name="connsiteX382" fmla="*/ 2436647 w 6761480"/>
              <a:gd name="connsiteY382" fmla="*/ 246253 h 6776340"/>
              <a:gd name="connsiteX383" fmla="*/ 2601914 w 6761480"/>
              <a:gd name="connsiteY383" fmla="*/ 246455 h 6776340"/>
              <a:gd name="connsiteX384" fmla="*/ 2756112 w 6761480"/>
              <a:gd name="connsiteY384" fmla="*/ 254520 h 6776340"/>
              <a:gd name="connsiteX385" fmla="*/ 2756326 w 6761480"/>
              <a:gd name="connsiteY385" fmla="*/ 254780 h 6776340"/>
              <a:gd name="connsiteX386" fmla="*/ 2756425 w 6761480"/>
              <a:gd name="connsiteY386" fmla="*/ 254537 h 6776340"/>
              <a:gd name="connsiteX387" fmla="*/ 2756112 w 6761480"/>
              <a:gd name="connsiteY387" fmla="*/ 254520 h 6776340"/>
              <a:gd name="connsiteX388" fmla="*/ 1577366 w 6761480"/>
              <a:gd name="connsiteY388" fmla="*/ 148405 h 6776340"/>
              <a:gd name="connsiteX389" fmla="*/ 1770506 w 6761480"/>
              <a:gd name="connsiteY389" fmla="*/ 186488 h 6776340"/>
              <a:gd name="connsiteX390" fmla="*/ 1689118 w 6761480"/>
              <a:gd name="connsiteY390" fmla="*/ 285314 h 6776340"/>
              <a:gd name="connsiteX391" fmla="*/ 1664706 w 6761480"/>
              <a:gd name="connsiteY391" fmla="*/ 219678 h 6776340"/>
              <a:gd name="connsiteX392" fmla="*/ 1668138 w 6761480"/>
              <a:gd name="connsiteY392" fmla="*/ 218818 h 6776340"/>
              <a:gd name="connsiteX393" fmla="*/ 1502526 w 6761480"/>
              <a:gd name="connsiteY393" fmla="*/ 260304 h 6776340"/>
              <a:gd name="connsiteX394" fmla="*/ 356856 w 6761480"/>
              <a:gd name="connsiteY394" fmla="*/ 855608 h 6776340"/>
              <a:gd name="connsiteX395" fmla="*/ 1252 w 6761480"/>
              <a:gd name="connsiteY395" fmla="*/ 1201183 h 6776340"/>
              <a:gd name="connsiteX396" fmla="*/ 1252 w 6761480"/>
              <a:gd name="connsiteY396" fmla="*/ 1161842 h 6776340"/>
              <a:gd name="connsiteX397" fmla="*/ 335257 w 6761480"/>
              <a:gd name="connsiteY397" fmla="*/ 843018 h 6776340"/>
              <a:gd name="connsiteX398" fmla="*/ 1490051 w 6761480"/>
              <a:gd name="connsiteY398" fmla="*/ 246248 h 6776340"/>
              <a:gd name="connsiteX399" fmla="*/ 1654245 w 6761480"/>
              <a:gd name="connsiteY399" fmla="*/ 205224 h 6776340"/>
              <a:gd name="connsiteX400" fmla="*/ 1655226 w 6761480"/>
              <a:gd name="connsiteY400" fmla="*/ 205949 h 6776340"/>
              <a:gd name="connsiteX401" fmla="*/ 1654969 w 6761480"/>
              <a:gd name="connsiteY401" fmla="*/ 205329 h 6776340"/>
              <a:gd name="connsiteX402" fmla="*/ 1655101 w 6761480"/>
              <a:gd name="connsiteY402" fmla="*/ 205010 h 6776340"/>
              <a:gd name="connsiteX403" fmla="*/ 1654245 w 6761480"/>
              <a:gd name="connsiteY403" fmla="*/ 205224 h 6776340"/>
              <a:gd name="connsiteX404" fmla="*/ 2251163 w 6761480"/>
              <a:gd name="connsiteY404" fmla="*/ 137 h 6776340"/>
              <a:gd name="connsiteX405" fmla="*/ 3337589 w 6761480"/>
              <a:gd name="connsiteY405" fmla="*/ 142529 h 6776340"/>
              <a:gd name="connsiteX406" fmla="*/ 3500697 w 6761480"/>
              <a:gd name="connsiteY406" fmla="*/ 190472 h 6776340"/>
              <a:gd name="connsiteX407" fmla="*/ 3500819 w 6761480"/>
              <a:gd name="connsiteY407" fmla="*/ 190693 h 6776340"/>
              <a:gd name="connsiteX408" fmla="*/ 3500887 w 6761480"/>
              <a:gd name="connsiteY408" fmla="*/ 190528 h 6776340"/>
              <a:gd name="connsiteX409" fmla="*/ 3500697 w 6761480"/>
              <a:gd name="connsiteY409" fmla="*/ 190472 h 6776340"/>
              <a:gd name="connsiteX410" fmla="*/ 3470893 w 6761480"/>
              <a:gd name="connsiteY410" fmla="*/ 136760 h 6776340"/>
              <a:gd name="connsiteX411" fmla="*/ 3596732 w 6761480"/>
              <a:gd name="connsiteY411" fmla="*/ 225829 h 6776340"/>
              <a:gd name="connsiteX412" fmla="*/ 3489988 w 6761480"/>
              <a:gd name="connsiteY412" fmla="*/ 242196 h 6776340"/>
              <a:gd name="connsiteX413" fmla="*/ 3502515 w 6761480"/>
              <a:gd name="connsiteY413" fmla="*/ 201613 h 6776340"/>
              <a:gd name="connsiteX414" fmla="*/ 3340978 w 6761480"/>
              <a:gd name="connsiteY414" fmla="*/ 154278 h 6776340"/>
              <a:gd name="connsiteX415" fmla="*/ 2077590 w 6761480"/>
              <a:gd name="connsiteY415" fmla="*/ 19995 h 6776340"/>
              <a:gd name="connsiteX416" fmla="*/ 503042 w 6761480"/>
              <a:gd name="connsiteY416" fmla="*/ 494925 h 6776340"/>
              <a:gd name="connsiteX417" fmla="*/ 1252 w 6761480"/>
              <a:gd name="connsiteY417" fmla="*/ 860643 h 6776340"/>
              <a:gd name="connsiteX418" fmla="*/ 1252 w 6761480"/>
              <a:gd name="connsiteY418" fmla="*/ 826338 h 6776340"/>
              <a:gd name="connsiteX419" fmla="*/ 483947 w 6761480"/>
              <a:gd name="connsiteY419" fmla="*/ 479818 h 6776340"/>
              <a:gd name="connsiteX420" fmla="*/ 2068825 w 6761480"/>
              <a:gd name="connsiteY420" fmla="*/ 6147 h 6776340"/>
              <a:gd name="connsiteX421" fmla="*/ 2251163 w 6761480"/>
              <a:gd name="connsiteY421" fmla="*/ 137 h 677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Lst>
            <a:rect l="l" t="t" r="r" b="b"/>
            <a:pathLst>
              <a:path w="6761480" h="6776340">
                <a:moveTo>
                  <a:pt x="4497011" y="6773822"/>
                </a:moveTo>
                <a:lnTo>
                  <a:pt x="4501642" y="6773822"/>
                </a:lnTo>
                <a:lnTo>
                  <a:pt x="4497011" y="6775081"/>
                </a:lnTo>
                <a:close/>
                <a:moveTo>
                  <a:pt x="1252" y="6753365"/>
                </a:moveTo>
                <a:cubicBezTo>
                  <a:pt x="7513" y="6761233"/>
                  <a:pt x="14087" y="6767528"/>
                  <a:pt x="19095" y="6775081"/>
                </a:cubicBezTo>
                <a:lnTo>
                  <a:pt x="1252" y="6775081"/>
                </a:lnTo>
                <a:close/>
                <a:moveTo>
                  <a:pt x="6600269" y="6319035"/>
                </a:moveTo>
                <a:cubicBezTo>
                  <a:pt x="6593695" y="6378834"/>
                  <a:pt x="6591191" y="6465071"/>
                  <a:pt x="6599017" y="6532423"/>
                </a:cubicBezTo>
                <a:lnTo>
                  <a:pt x="6557645" y="6439524"/>
                </a:lnTo>
                <a:lnTo>
                  <a:pt x="6556433" y="6439022"/>
                </a:lnTo>
                <a:lnTo>
                  <a:pt x="6479087" y="6600995"/>
                </a:lnTo>
                <a:cubicBezTo>
                  <a:pt x="6448762" y="6659889"/>
                  <a:pt x="6416676" y="6717957"/>
                  <a:pt x="6383025" y="6775081"/>
                </a:cubicBezTo>
                <a:lnTo>
                  <a:pt x="6360174" y="6775081"/>
                </a:lnTo>
                <a:cubicBezTo>
                  <a:pt x="6395703" y="6715440"/>
                  <a:pt x="6429667" y="6654461"/>
                  <a:pt x="6461753" y="6592694"/>
                </a:cubicBezTo>
                <a:lnTo>
                  <a:pt x="6544320" y="6421628"/>
                </a:lnTo>
                <a:lnTo>
                  <a:pt x="6544854" y="6421998"/>
                </a:lnTo>
                <a:lnTo>
                  <a:pt x="6544525" y="6421204"/>
                </a:lnTo>
                <a:lnTo>
                  <a:pt x="6544320" y="6421628"/>
                </a:lnTo>
                <a:lnTo>
                  <a:pt x="6480691" y="6377575"/>
                </a:lnTo>
                <a:cubicBezTo>
                  <a:pt x="6520133" y="6373798"/>
                  <a:pt x="6568340" y="6347046"/>
                  <a:pt x="6600269" y="6319035"/>
                </a:cubicBezTo>
                <a:close/>
                <a:moveTo>
                  <a:pt x="1252" y="6096835"/>
                </a:moveTo>
                <a:cubicBezTo>
                  <a:pt x="169037" y="6338234"/>
                  <a:pt x="358108" y="6565470"/>
                  <a:pt x="567839" y="6775081"/>
                </a:cubicBezTo>
                <a:lnTo>
                  <a:pt x="567839" y="6776340"/>
                </a:lnTo>
                <a:lnTo>
                  <a:pt x="506798" y="6776340"/>
                </a:lnTo>
                <a:cubicBezTo>
                  <a:pt x="322736" y="6588445"/>
                  <a:pt x="152446" y="6385129"/>
                  <a:pt x="1252" y="6171741"/>
                </a:cubicBezTo>
                <a:close/>
                <a:moveTo>
                  <a:pt x="6421215" y="5928138"/>
                </a:moveTo>
                <a:cubicBezTo>
                  <a:pt x="6414641" y="5987623"/>
                  <a:pt x="6412137" y="6070082"/>
                  <a:pt x="6419963" y="6133658"/>
                </a:cubicBezTo>
                <a:lnTo>
                  <a:pt x="6377876" y="6043667"/>
                </a:lnTo>
                <a:lnTo>
                  <a:pt x="6378038" y="6043340"/>
                </a:lnTo>
                <a:lnTo>
                  <a:pt x="6377774" y="6043450"/>
                </a:lnTo>
                <a:lnTo>
                  <a:pt x="6377876" y="6043667"/>
                </a:lnTo>
                <a:lnTo>
                  <a:pt x="6287037" y="6226976"/>
                </a:lnTo>
                <a:cubicBezTo>
                  <a:pt x="6181433" y="6422247"/>
                  <a:pt x="6054655" y="6606542"/>
                  <a:pt x="5908156" y="6775081"/>
                </a:cubicBezTo>
                <a:lnTo>
                  <a:pt x="5877479" y="6775081"/>
                </a:lnTo>
                <a:cubicBezTo>
                  <a:pt x="6029847" y="6603710"/>
                  <a:pt x="6162318" y="6415874"/>
                  <a:pt x="6271591" y="6216354"/>
                </a:cubicBezTo>
                <a:lnTo>
                  <a:pt x="6363444" y="6032284"/>
                </a:lnTo>
                <a:lnTo>
                  <a:pt x="6362632" y="6030324"/>
                </a:lnTo>
                <a:lnTo>
                  <a:pt x="6363897" y="6027272"/>
                </a:lnTo>
                <a:lnTo>
                  <a:pt x="6301637" y="5986364"/>
                </a:lnTo>
                <a:cubicBezTo>
                  <a:pt x="6341079" y="5981328"/>
                  <a:pt x="6388034" y="5955835"/>
                  <a:pt x="6421215" y="5928138"/>
                </a:cubicBezTo>
                <a:close/>
                <a:moveTo>
                  <a:pt x="1252" y="5376728"/>
                </a:moveTo>
                <a:cubicBezTo>
                  <a:pt x="276720" y="5908940"/>
                  <a:pt x="663001" y="6387647"/>
                  <a:pt x="1127853" y="6775081"/>
                </a:cubicBezTo>
                <a:lnTo>
                  <a:pt x="1065559" y="6775081"/>
                </a:lnTo>
                <a:cubicBezTo>
                  <a:pt x="632324" y="6406845"/>
                  <a:pt x="267955" y="5958353"/>
                  <a:pt x="1252" y="5462021"/>
                </a:cubicBezTo>
                <a:close/>
                <a:moveTo>
                  <a:pt x="6729864" y="5362880"/>
                </a:moveTo>
                <a:cubicBezTo>
                  <a:pt x="6733620" y="5418588"/>
                  <a:pt x="6744890" y="5495068"/>
                  <a:pt x="6761480" y="5550775"/>
                </a:cubicBezTo>
                <a:lnTo>
                  <a:pt x="6712848" y="5477718"/>
                </a:lnTo>
                <a:lnTo>
                  <a:pt x="6676929" y="5639303"/>
                </a:lnTo>
                <a:cubicBezTo>
                  <a:pt x="6575662" y="6044643"/>
                  <a:pt x="6400398" y="6431670"/>
                  <a:pt x="6158269" y="6775081"/>
                </a:cubicBezTo>
                <a:lnTo>
                  <a:pt x="6131661" y="6775081"/>
                </a:lnTo>
                <a:cubicBezTo>
                  <a:pt x="6132913" y="6772563"/>
                  <a:pt x="6135417" y="6770046"/>
                  <a:pt x="6136669" y="6767528"/>
                </a:cubicBezTo>
                <a:cubicBezTo>
                  <a:pt x="6383456" y="6424116"/>
                  <a:pt x="6560020" y="6035885"/>
                  <a:pt x="6663217" y="5628557"/>
                </a:cubicBezTo>
                <a:lnTo>
                  <a:pt x="6698308" y="5473391"/>
                </a:lnTo>
                <a:lnTo>
                  <a:pt x="6698060" y="5473288"/>
                </a:lnTo>
                <a:lnTo>
                  <a:pt x="6694986" y="5465867"/>
                </a:lnTo>
                <a:lnTo>
                  <a:pt x="6643467" y="5446599"/>
                </a:lnTo>
                <a:cubicBezTo>
                  <a:pt x="6673831" y="5432751"/>
                  <a:pt x="6708265" y="5395927"/>
                  <a:pt x="6729864" y="5362880"/>
                </a:cubicBezTo>
                <a:close/>
                <a:moveTo>
                  <a:pt x="6572096" y="4541116"/>
                </a:moveTo>
                <a:cubicBezTo>
                  <a:pt x="6582426" y="4592102"/>
                  <a:pt x="6602773" y="4657881"/>
                  <a:pt x="6624372" y="4706350"/>
                </a:cubicBezTo>
                <a:lnTo>
                  <a:pt x="6574042" y="4651506"/>
                </a:lnTo>
                <a:lnTo>
                  <a:pt x="6574054" y="4651320"/>
                </a:lnTo>
                <a:lnTo>
                  <a:pt x="6573921" y="4651375"/>
                </a:lnTo>
                <a:cubicBezTo>
                  <a:pt x="6573961" y="4651419"/>
                  <a:pt x="6574002" y="4651462"/>
                  <a:pt x="6574042" y="4651506"/>
                </a:cubicBezTo>
                <a:lnTo>
                  <a:pt x="6564870" y="4796499"/>
                </a:lnTo>
                <a:cubicBezTo>
                  <a:pt x="6532503" y="5167058"/>
                  <a:pt x="6437493" y="5537045"/>
                  <a:pt x="6277534" y="5877152"/>
                </a:cubicBezTo>
                <a:cubicBezTo>
                  <a:pt x="6116322" y="6217692"/>
                  <a:pt x="5890314" y="6527387"/>
                  <a:pt x="5609524" y="6776340"/>
                </a:cubicBezTo>
                <a:lnTo>
                  <a:pt x="5572900" y="6776340"/>
                </a:lnTo>
                <a:lnTo>
                  <a:pt x="5572900" y="6775081"/>
                </a:lnTo>
                <a:cubicBezTo>
                  <a:pt x="5864958" y="6524870"/>
                  <a:pt x="6099732" y="6209823"/>
                  <a:pt x="6265012" y="5860786"/>
                </a:cubicBezTo>
                <a:cubicBezTo>
                  <a:pt x="6424971" y="5522882"/>
                  <a:pt x="6519742" y="5154857"/>
                  <a:pt x="6552049" y="4787495"/>
                </a:cubicBezTo>
                <a:lnTo>
                  <a:pt x="6560996" y="4647171"/>
                </a:lnTo>
                <a:lnTo>
                  <a:pt x="6559757" y="4644178"/>
                </a:lnTo>
                <a:lnTo>
                  <a:pt x="6510116" y="4637738"/>
                </a:lnTo>
                <a:cubicBezTo>
                  <a:pt x="6534219" y="4617281"/>
                  <a:pt x="6558323" y="4576680"/>
                  <a:pt x="6572096" y="4541116"/>
                </a:cubicBezTo>
                <a:close/>
                <a:moveTo>
                  <a:pt x="1252" y="4473763"/>
                </a:moveTo>
                <a:cubicBezTo>
                  <a:pt x="58537" y="4654104"/>
                  <a:pt x="128343" y="4834446"/>
                  <a:pt x="212235" y="5013528"/>
                </a:cubicBezTo>
                <a:cubicBezTo>
                  <a:pt x="549996" y="5731116"/>
                  <a:pt x="1078081" y="6352082"/>
                  <a:pt x="1714474" y="6776340"/>
                </a:cubicBezTo>
                <a:lnTo>
                  <a:pt x="1645920" y="6776340"/>
                </a:lnTo>
                <a:lnTo>
                  <a:pt x="1645920" y="6775081"/>
                </a:lnTo>
                <a:cubicBezTo>
                  <a:pt x="1024865" y="6348305"/>
                  <a:pt x="509302" y="5734893"/>
                  <a:pt x="177802" y="5028950"/>
                </a:cubicBezTo>
                <a:cubicBezTo>
                  <a:pt x="110500" y="4884173"/>
                  <a:pt x="50711" y="4736879"/>
                  <a:pt x="1252" y="4590843"/>
                </a:cubicBezTo>
                <a:close/>
                <a:moveTo>
                  <a:pt x="6353913" y="4251563"/>
                </a:moveTo>
                <a:cubicBezTo>
                  <a:pt x="6365182" y="4302549"/>
                  <a:pt x="6386782" y="4367069"/>
                  <a:pt x="6409633" y="4413020"/>
                </a:cubicBezTo>
                <a:lnTo>
                  <a:pt x="6358368" y="4361476"/>
                </a:lnTo>
                <a:cubicBezTo>
                  <a:pt x="6358420" y="4360101"/>
                  <a:pt x="6358473" y="4358727"/>
                  <a:pt x="6358525" y="4357352"/>
                </a:cubicBezTo>
                <a:lnTo>
                  <a:pt x="6353114" y="4499401"/>
                </a:lnTo>
                <a:cubicBezTo>
                  <a:pt x="6330397" y="4854151"/>
                  <a:pt x="6243570" y="5200557"/>
                  <a:pt x="6093471" y="5513951"/>
                </a:cubicBezTo>
                <a:cubicBezTo>
                  <a:pt x="5902835" y="5912716"/>
                  <a:pt x="5610777" y="6262069"/>
                  <a:pt x="5227313" y="6500635"/>
                </a:cubicBezTo>
                <a:cubicBezTo>
                  <a:pt x="5040746" y="6620233"/>
                  <a:pt x="4834771" y="6711506"/>
                  <a:pt x="4613771" y="6773822"/>
                </a:cubicBezTo>
                <a:lnTo>
                  <a:pt x="4501642" y="6773822"/>
                </a:lnTo>
                <a:lnTo>
                  <a:pt x="4689603" y="6722728"/>
                </a:lnTo>
                <a:cubicBezTo>
                  <a:pt x="4878420" y="6662919"/>
                  <a:pt x="5055615" y="6580892"/>
                  <a:pt x="5218548" y="6477975"/>
                </a:cubicBezTo>
                <a:cubicBezTo>
                  <a:pt x="5600760" y="6241611"/>
                  <a:pt x="5891566" y="5895092"/>
                  <a:pt x="6080637" y="5500103"/>
                </a:cubicBezTo>
                <a:cubicBezTo>
                  <a:pt x="6229640" y="5188912"/>
                  <a:pt x="6317288" y="4844709"/>
                  <a:pt x="6340228" y="4492162"/>
                </a:cubicBezTo>
                <a:lnTo>
                  <a:pt x="6345477" y="4356432"/>
                </a:lnTo>
                <a:lnTo>
                  <a:pt x="6343413" y="4355577"/>
                </a:lnTo>
                <a:cubicBezTo>
                  <a:pt x="6343351" y="4355428"/>
                  <a:pt x="6343290" y="4355279"/>
                  <a:pt x="6343228" y="4355130"/>
                </a:cubicBezTo>
                <a:lnTo>
                  <a:pt x="6294124" y="4351962"/>
                </a:lnTo>
                <a:cubicBezTo>
                  <a:pt x="6318228" y="4330246"/>
                  <a:pt x="6341079" y="4288386"/>
                  <a:pt x="6353913" y="4251563"/>
                </a:cubicBezTo>
                <a:close/>
                <a:moveTo>
                  <a:pt x="6398364" y="3724702"/>
                </a:moveTo>
                <a:cubicBezTo>
                  <a:pt x="6417459" y="3767820"/>
                  <a:pt x="6446571" y="3826045"/>
                  <a:pt x="6473178" y="3864128"/>
                </a:cubicBezTo>
                <a:lnTo>
                  <a:pt x="6422596" y="3828278"/>
                </a:lnTo>
                <a:lnTo>
                  <a:pt x="6422123" y="3828473"/>
                </a:lnTo>
                <a:lnTo>
                  <a:pt x="6444075" y="3981096"/>
                </a:lnTo>
                <a:cubicBezTo>
                  <a:pt x="6491075" y="4373261"/>
                  <a:pt x="6472826" y="4771027"/>
                  <a:pt x="6380521" y="5144456"/>
                </a:cubicBezTo>
                <a:cubicBezTo>
                  <a:pt x="6263760" y="5623163"/>
                  <a:pt x="6028674" y="6067564"/>
                  <a:pt x="5679330" y="6416917"/>
                </a:cubicBezTo>
                <a:cubicBezTo>
                  <a:pt x="5545979" y="6552881"/>
                  <a:pt x="5395098" y="6673423"/>
                  <a:pt x="5229817" y="6775081"/>
                </a:cubicBezTo>
                <a:lnTo>
                  <a:pt x="5179106" y="6775081"/>
                </a:lnTo>
                <a:cubicBezTo>
                  <a:pt x="5360664" y="6668387"/>
                  <a:pt x="5525632" y="6541550"/>
                  <a:pt x="5669313" y="6395200"/>
                </a:cubicBezTo>
                <a:cubicBezTo>
                  <a:pt x="6015839" y="6049940"/>
                  <a:pt x="6250926" y="5609315"/>
                  <a:pt x="6367687" y="5133126"/>
                </a:cubicBezTo>
                <a:cubicBezTo>
                  <a:pt x="6459992" y="4761900"/>
                  <a:pt x="6478241" y="4366337"/>
                  <a:pt x="6432079" y="3976375"/>
                </a:cubicBezTo>
                <a:lnTo>
                  <a:pt x="6410802" y="3826707"/>
                </a:lnTo>
                <a:lnTo>
                  <a:pt x="6408896" y="3825918"/>
                </a:lnTo>
                <a:lnTo>
                  <a:pt x="6408545" y="3825071"/>
                </a:lnTo>
                <a:lnTo>
                  <a:pt x="6366435" y="3833914"/>
                </a:lnTo>
                <a:cubicBezTo>
                  <a:pt x="6383025" y="3807161"/>
                  <a:pt x="6394294" y="3761525"/>
                  <a:pt x="6398364" y="3724702"/>
                </a:cubicBezTo>
                <a:close/>
                <a:moveTo>
                  <a:pt x="6074376" y="3584961"/>
                </a:moveTo>
                <a:cubicBezTo>
                  <a:pt x="6074380" y="3584992"/>
                  <a:pt x="6074385" y="3585022"/>
                  <a:pt x="6074389" y="3585053"/>
                </a:cubicBezTo>
                <a:cubicBezTo>
                  <a:pt x="6074400" y="3585026"/>
                  <a:pt x="6074412" y="3584998"/>
                  <a:pt x="6074423" y="3584971"/>
                </a:cubicBezTo>
                <a:cubicBezTo>
                  <a:pt x="6074407" y="3584968"/>
                  <a:pt x="6074392" y="3584964"/>
                  <a:pt x="6074376" y="3584961"/>
                </a:cubicBezTo>
                <a:close/>
                <a:moveTo>
                  <a:pt x="2136127" y="1258149"/>
                </a:moveTo>
                <a:cubicBezTo>
                  <a:pt x="2113276" y="1297491"/>
                  <a:pt x="2094181" y="1353513"/>
                  <a:pt x="2092929" y="1399149"/>
                </a:cubicBezTo>
                <a:lnTo>
                  <a:pt x="2049868" y="1328453"/>
                </a:lnTo>
                <a:lnTo>
                  <a:pt x="2048245" y="1329125"/>
                </a:lnTo>
                <a:lnTo>
                  <a:pt x="2047341" y="1328751"/>
                </a:lnTo>
                <a:lnTo>
                  <a:pt x="1952344" y="1396153"/>
                </a:lnTo>
                <a:cubicBezTo>
                  <a:pt x="1701659" y="1588878"/>
                  <a:pt x="1497738" y="1852599"/>
                  <a:pt x="1367635" y="2171501"/>
                </a:cubicBezTo>
                <a:cubicBezTo>
                  <a:pt x="1203919" y="2572784"/>
                  <a:pt x="1158217" y="3043937"/>
                  <a:pt x="1248370" y="3526421"/>
                </a:cubicBezTo>
                <a:cubicBezTo>
                  <a:pt x="1437754" y="4588011"/>
                  <a:pt x="2245375" y="5549516"/>
                  <a:pt x="3248641" y="5902645"/>
                </a:cubicBezTo>
                <a:cubicBezTo>
                  <a:pt x="3708484" y="6068823"/>
                  <a:pt x="4175840" y="6093058"/>
                  <a:pt x="4589668" y="5988882"/>
                </a:cubicBezTo>
                <a:cubicBezTo>
                  <a:pt x="4968123" y="5892574"/>
                  <a:pt x="5290858" y="5687998"/>
                  <a:pt x="5526884" y="5409775"/>
                </a:cubicBezTo>
                <a:cubicBezTo>
                  <a:pt x="5746632" y="5157046"/>
                  <a:pt x="5890314" y="4840740"/>
                  <a:pt x="5958868" y="4505551"/>
                </a:cubicBezTo>
                <a:cubicBezTo>
                  <a:pt x="6006527" y="4273279"/>
                  <a:pt x="6019146" y="4028615"/>
                  <a:pt x="5996725" y="3783640"/>
                </a:cubicBezTo>
                <a:lnTo>
                  <a:pt x="5965029" y="3556265"/>
                </a:lnTo>
                <a:lnTo>
                  <a:pt x="5960728" y="3554483"/>
                </a:lnTo>
                <a:lnTo>
                  <a:pt x="5919426" y="3565762"/>
                </a:lnTo>
                <a:cubicBezTo>
                  <a:pt x="5936016" y="3537751"/>
                  <a:pt x="5947285" y="3489597"/>
                  <a:pt x="5951355" y="3450256"/>
                </a:cubicBezTo>
                <a:cubicBezTo>
                  <a:pt x="5972954" y="3494633"/>
                  <a:pt x="6003318" y="3550655"/>
                  <a:pt x="6031178" y="3588738"/>
                </a:cubicBezTo>
                <a:lnTo>
                  <a:pt x="5976676" y="3555859"/>
                </a:lnTo>
                <a:lnTo>
                  <a:pt x="5976246" y="3556037"/>
                </a:lnTo>
                <a:lnTo>
                  <a:pt x="6009227" y="3785548"/>
                </a:lnTo>
                <a:cubicBezTo>
                  <a:pt x="6032704" y="4030759"/>
                  <a:pt x="6021317" y="4279023"/>
                  <a:pt x="5972954" y="4517196"/>
                </a:cubicBezTo>
                <a:cubicBezTo>
                  <a:pt x="5902835" y="4859939"/>
                  <a:pt x="5755710" y="5176244"/>
                  <a:pt x="5538466" y="5427715"/>
                </a:cubicBezTo>
                <a:cubicBezTo>
                  <a:pt x="5299623" y="5708141"/>
                  <a:pt x="4975949" y="5916493"/>
                  <a:pt x="4593737" y="6014375"/>
                </a:cubicBezTo>
                <a:cubicBezTo>
                  <a:pt x="4177092" y="6121069"/>
                  <a:pt x="3705980" y="6096835"/>
                  <a:pt x="3241130" y="5929397"/>
                </a:cubicBezTo>
                <a:cubicBezTo>
                  <a:pt x="2226280" y="5573750"/>
                  <a:pt x="1409581" y="4602174"/>
                  <a:pt x="1220510" y="3528939"/>
                </a:cubicBezTo>
                <a:cubicBezTo>
                  <a:pt x="1130357" y="3042678"/>
                  <a:pt x="1177312" y="2566489"/>
                  <a:pt x="1343531" y="2162374"/>
                </a:cubicBezTo>
                <a:cubicBezTo>
                  <a:pt x="1475826" y="1842370"/>
                  <a:pt x="1681938" y="1576825"/>
                  <a:pt x="1935653" y="1382817"/>
                </a:cubicBezTo>
                <a:lnTo>
                  <a:pt x="2034374" y="1313168"/>
                </a:lnTo>
                <a:lnTo>
                  <a:pt x="2035264" y="1313636"/>
                </a:lnTo>
                <a:lnTo>
                  <a:pt x="2035905" y="1312088"/>
                </a:lnTo>
                <a:lnTo>
                  <a:pt x="2034374" y="1313168"/>
                </a:lnTo>
                <a:lnTo>
                  <a:pt x="1947056" y="1267277"/>
                </a:lnTo>
                <a:cubicBezTo>
                  <a:pt x="2006532" y="1274830"/>
                  <a:pt x="2081660" y="1268536"/>
                  <a:pt x="2136127" y="1258149"/>
                </a:cubicBezTo>
                <a:close/>
                <a:moveTo>
                  <a:pt x="3236702" y="1253409"/>
                </a:moveTo>
                <a:cubicBezTo>
                  <a:pt x="3451360" y="1246524"/>
                  <a:pt x="3670880" y="1277137"/>
                  <a:pt x="3887541" y="1342173"/>
                </a:cubicBezTo>
                <a:lnTo>
                  <a:pt x="4002808" y="1380534"/>
                </a:lnTo>
                <a:lnTo>
                  <a:pt x="4003578" y="1382580"/>
                </a:lnTo>
                <a:lnTo>
                  <a:pt x="4004230" y="1381007"/>
                </a:lnTo>
                <a:lnTo>
                  <a:pt x="4002808" y="1380534"/>
                </a:lnTo>
                <a:lnTo>
                  <a:pt x="3980195" y="1320466"/>
                </a:lnTo>
                <a:cubicBezTo>
                  <a:pt x="4011812" y="1354772"/>
                  <a:pt x="4061584" y="1395372"/>
                  <a:pt x="4101965" y="1423384"/>
                </a:cubicBezTo>
                <a:cubicBezTo>
                  <a:pt x="4062836" y="1422125"/>
                  <a:pt x="4014316" y="1425901"/>
                  <a:pt x="3982700" y="1438491"/>
                </a:cubicBezTo>
                <a:lnTo>
                  <a:pt x="4003104" y="1393244"/>
                </a:lnTo>
                <a:lnTo>
                  <a:pt x="4004287" y="1393636"/>
                </a:lnTo>
                <a:lnTo>
                  <a:pt x="4003636" y="1392064"/>
                </a:lnTo>
                <a:lnTo>
                  <a:pt x="4003104" y="1393244"/>
                </a:lnTo>
                <a:lnTo>
                  <a:pt x="3888483" y="1355281"/>
                </a:lnTo>
                <a:cubicBezTo>
                  <a:pt x="3587365" y="1265280"/>
                  <a:pt x="3280768" y="1241665"/>
                  <a:pt x="2990703" y="1293714"/>
                </a:cubicBezTo>
                <a:cubicBezTo>
                  <a:pt x="2630091" y="1357290"/>
                  <a:pt x="2297338" y="1542667"/>
                  <a:pt x="2061312" y="1828443"/>
                </a:cubicBezTo>
                <a:cubicBezTo>
                  <a:pt x="1800870" y="2139713"/>
                  <a:pt x="1657502" y="2580337"/>
                  <a:pt x="1676284" y="3067857"/>
                </a:cubicBezTo>
                <a:cubicBezTo>
                  <a:pt x="1695379" y="3583702"/>
                  <a:pt x="1905110" y="4131020"/>
                  <a:pt x="2265722" y="4584234"/>
                </a:cubicBezTo>
                <a:cubicBezTo>
                  <a:pt x="2626334" y="5040280"/>
                  <a:pt x="3116542" y="5369175"/>
                  <a:pt x="3619583" y="5502621"/>
                </a:cubicBezTo>
                <a:cubicBezTo>
                  <a:pt x="4098208" y="5630717"/>
                  <a:pt x="4565564" y="5581304"/>
                  <a:pt x="4928994" y="5387115"/>
                </a:cubicBezTo>
                <a:cubicBezTo>
                  <a:pt x="5262999" y="5210550"/>
                  <a:pt x="5514363" y="4913129"/>
                  <a:pt x="5648966" y="4561573"/>
                </a:cubicBezTo>
                <a:cubicBezTo>
                  <a:pt x="5759075" y="4279298"/>
                  <a:pt x="5795128" y="3965939"/>
                  <a:pt x="5763205" y="3646163"/>
                </a:cubicBezTo>
                <a:lnTo>
                  <a:pt x="5747424" y="3524548"/>
                </a:lnTo>
                <a:lnTo>
                  <a:pt x="5748357" y="3524334"/>
                </a:lnTo>
                <a:lnTo>
                  <a:pt x="5747342" y="3523913"/>
                </a:lnTo>
                <a:cubicBezTo>
                  <a:pt x="5747369" y="3524125"/>
                  <a:pt x="5747397" y="3524336"/>
                  <a:pt x="5747424" y="3524548"/>
                </a:cubicBezTo>
                <a:lnTo>
                  <a:pt x="5700930" y="3535233"/>
                </a:lnTo>
                <a:cubicBezTo>
                  <a:pt x="5720025" y="3507537"/>
                  <a:pt x="5732859" y="3459068"/>
                  <a:pt x="5739119" y="3418468"/>
                </a:cubicBezTo>
                <a:cubicBezTo>
                  <a:pt x="5758214" y="3465363"/>
                  <a:pt x="5789831" y="3523903"/>
                  <a:pt x="5818003" y="3561985"/>
                </a:cubicBezTo>
                <a:lnTo>
                  <a:pt x="5760509" y="3525675"/>
                </a:lnTo>
                <a:lnTo>
                  <a:pt x="5760127" y="3525833"/>
                </a:lnTo>
                <a:lnTo>
                  <a:pt x="5776440" y="3649679"/>
                </a:lnTo>
                <a:cubicBezTo>
                  <a:pt x="5809145" y="3971899"/>
                  <a:pt x="5772888" y="4288425"/>
                  <a:pt x="5663053" y="4572904"/>
                </a:cubicBezTo>
                <a:cubicBezTo>
                  <a:pt x="5526884" y="4927292"/>
                  <a:pt x="5274268" y="5229434"/>
                  <a:pt x="4937759" y="5407257"/>
                </a:cubicBezTo>
                <a:cubicBezTo>
                  <a:pt x="4572138" y="5606797"/>
                  <a:pt x="4099460" y="5656210"/>
                  <a:pt x="3615827" y="5527800"/>
                </a:cubicBezTo>
                <a:cubicBezTo>
                  <a:pt x="3107777" y="5394668"/>
                  <a:pt x="2612248" y="5061997"/>
                  <a:pt x="2246627" y="4600915"/>
                </a:cubicBezTo>
                <a:cubicBezTo>
                  <a:pt x="1882258" y="4143610"/>
                  <a:pt x="1671275" y="3588738"/>
                  <a:pt x="1652180" y="3067857"/>
                </a:cubicBezTo>
                <a:cubicBezTo>
                  <a:pt x="1633085" y="2575302"/>
                  <a:pt x="1779271" y="2130900"/>
                  <a:pt x="2043470" y="1817113"/>
                </a:cubicBezTo>
                <a:cubicBezTo>
                  <a:pt x="2282313" y="1528819"/>
                  <a:pt x="2618821" y="1343442"/>
                  <a:pt x="2981938" y="1279866"/>
                </a:cubicBezTo>
                <a:cubicBezTo>
                  <a:pt x="3065752" y="1264916"/>
                  <a:pt x="3150840" y="1256163"/>
                  <a:pt x="3236702" y="1253409"/>
                </a:cubicBezTo>
                <a:close/>
                <a:moveTo>
                  <a:pt x="2931227" y="1076549"/>
                </a:moveTo>
                <a:cubicBezTo>
                  <a:pt x="2979434" y="1100784"/>
                  <a:pt x="3045483" y="1121241"/>
                  <a:pt x="3094943" y="1131313"/>
                </a:cubicBezTo>
                <a:cubicBezTo>
                  <a:pt x="3060822" y="1151455"/>
                  <a:pt x="3022632" y="1183243"/>
                  <a:pt x="3003539" y="1215031"/>
                </a:cubicBezTo>
                <a:lnTo>
                  <a:pt x="2994665" y="1150900"/>
                </a:lnTo>
                <a:lnTo>
                  <a:pt x="2885088" y="1166387"/>
                </a:lnTo>
                <a:cubicBezTo>
                  <a:pt x="2599194" y="1216693"/>
                  <a:pt x="2329776" y="1334078"/>
                  <a:pt x="2103259" y="1517488"/>
                </a:cubicBezTo>
                <a:cubicBezTo>
                  <a:pt x="1819965" y="1744725"/>
                  <a:pt x="1610234" y="2068584"/>
                  <a:pt x="1511316" y="2462313"/>
                </a:cubicBezTo>
                <a:cubicBezTo>
                  <a:pt x="1402068" y="2890348"/>
                  <a:pt x="1424919" y="3376608"/>
                  <a:pt x="1591452" y="3855315"/>
                </a:cubicBezTo>
                <a:cubicBezTo>
                  <a:pt x="1763933" y="4355739"/>
                  <a:pt x="2080407" y="4816821"/>
                  <a:pt x="2495487" y="5169950"/>
                </a:cubicBezTo>
                <a:cubicBezTo>
                  <a:pt x="2901802" y="5516469"/>
                  <a:pt x="3373228" y="5731116"/>
                  <a:pt x="3838079" y="5790915"/>
                </a:cubicBezTo>
                <a:cubicBezTo>
                  <a:pt x="4278515" y="5847882"/>
                  <a:pt x="4687647" y="5769199"/>
                  <a:pt x="5019147" y="5577527"/>
                </a:cubicBezTo>
                <a:cubicBezTo>
                  <a:pt x="5326231" y="5404740"/>
                  <a:pt x="5558813" y="5134385"/>
                  <a:pt x="5706251" y="4819339"/>
                </a:cubicBezTo>
                <a:cubicBezTo>
                  <a:pt x="5807204" y="4602174"/>
                  <a:pt x="5868891" y="4362879"/>
                  <a:pt x="5887482" y="4115264"/>
                </a:cubicBezTo>
                <a:lnTo>
                  <a:pt x="5891349" y="3878618"/>
                </a:lnTo>
                <a:lnTo>
                  <a:pt x="5893101" y="3878544"/>
                </a:lnTo>
                <a:lnTo>
                  <a:pt x="5891417" y="3874479"/>
                </a:lnTo>
                <a:cubicBezTo>
                  <a:pt x="5891394" y="3875859"/>
                  <a:pt x="5891372" y="3877238"/>
                  <a:pt x="5891349" y="3878618"/>
                </a:cubicBezTo>
                <a:lnTo>
                  <a:pt x="5839603" y="3880809"/>
                </a:lnTo>
                <a:cubicBezTo>
                  <a:pt x="5862454" y="3856574"/>
                  <a:pt x="5882488" y="3810938"/>
                  <a:pt x="5894070" y="3774115"/>
                </a:cubicBezTo>
                <a:cubicBezTo>
                  <a:pt x="5909409" y="3822268"/>
                  <a:pt x="5934764" y="3885844"/>
                  <a:pt x="5960120" y="3928963"/>
                </a:cubicBezTo>
                <a:lnTo>
                  <a:pt x="5905767" y="3883843"/>
                </a:lnTo>
                <a:lnTo>
                  <a:pt x="5903872" y="3884628"/>
                </a:lnTo>
                <a:lnTo>
                  <a:pt x="5900179" y="4122498"/>
                </a:lnTo>
                <a:cubicBezTo>
                  <a:pt x="5881881" y="4372164"/>
                  <a:pt x="5820664" y="4613819"/>
                  <a:pt x="5718772" y="4831928"/>
                </a:cubicBezTo>
                <a:cubicBezTo>
                  <a:pt x="5571335" y="5149492"/>
                  <a:pt x="5336561" y="5423938"/>
                  <a:pt x="5027912" y="5598929"/>
                </a:cubicBezTo>
                <a:cubicBezTo>
                  <a:pt x="4695159" y="5792174"/>
                  <a:pt x="4282584" y="5873375"/>
                  <a:pt x="3836514" y="5816094"/>
                </a:cubicBezTo>
                <a:cubicBezTo>
                  <a:pt x="3366654" y="5756610"/>
                  <a:pt x="2890533" y="5540704"/>
                  <a:pt x="2478896" y="5190093"/>
                </a:cubicBezTo>
                <a:cubicBezTo>
                  <a:pt x="2060060" y="4834446"/>
                  <a:pt x="1739829" y="4367069"/>
                  <a:pt x="1565784" y="3861610"/>
                </a:cubicBezTo>
                <a:cubicBezTo>
                  <a:pt x="1398312" y="3377868"/>
                  <a:pt x="1375461" y="2887515"/>
                  <a:pt x="1487213" y="2456018"/>
                </a:cubicBezTo>
                <a:cubicBezTo>
                  <a:pt x="1588635" y="2058512"/>
                  <a:pt x="1802122" y="1731821"/>
                  <a:pt x="2087920" y="1503325"/>
                </a:cubicBezTo>
                <a:cubicBezTo>
                  <a:pt x="2316903" y="1319916"/>
                  <a:pt x="2588546" y="1202771"/>
                  <a:pt x="2876635" y="1152526"/>
                </a:cubicBezTo>
                <a:lnTo>
                  <a:pt x="2988108" y="1136901"/>
                </a:lnTo>
                <a:lnTo>
                  <a:pt x="2989747" y="1138638"/>
                </a:lnTo>
                <a:lnTo>
                  <a:pt x="2989613" y="1138319"/>
                </a:lnTo>
                <a:lnTo>
                  <a:pt x="2990330" y="1136590"/>
                </a:lnTo>
                <a:lnTo>
                  <a:pt x="2988108" y="1136901"/>
                </a:lnTo>
                <a:close/>
                <a:moveTo>
                  <a:pt x="2143640" y="968596"/>
                </a:moveTo>
                <a:cubicBezTo>
                  <a:pt x="2199672" y="984018"/>
                  <a:pt x="2274488" y="989054"/>
                  <a:pt x="2329269" y="989054"/>
                </a:cubicBezTo>
                <a:cubicBezTo>
                  <a:pt x="2299842" y="1019583"/>
                  <a:pt x="2270730" y="1065219"/>
                  <a:pt x="2263218" y="1105819"/>
                </a:cubicBezTo>
                <a:lnTo>
                  <a:pt x="2232102" y="1034718"/>
                </a:lnTo>
                <a:lnTo>
                  <a:pt x="2236314" y="1032885"/>
                </a:lnTo>
                <a:lnTo>
                  <a:pt x="2233983" y="1033850"/>
                </a:lnTo>
                <a:lnTo>
                  <a:pt x="2231222" y="1032706"/>
                </a:lnTo>
                <a:lnTo>
                  <a:pt x="2232102" y="1034718"/>
                </a:lnTo>
                <a:lnTo>
                  <a:pt x="2111684" y="1087132"/>
                </a:lnTo>
                <a:cubicBezTo>
                  <a:pt x="1802088" y="1235597"/>
                  <a:pt x="1530959" y="1463551"/>
                  <a:pt x="1331010" y="1762350"/>
                </a:cubicBezTo>
                <a:cubicBezTo>
                  <a:pt x="1076828" y="2140972"/>
                  <a:pt x="938469" y="2620938"/>
                  <a:pt x="952555" y="3150632"/>
                </a:cubicBezTo>
                <a:cubicBezTo>
                  <a:pt x="962572" y="3708021"/>
                  <a:pt x="1153208" y="4298458"/>
                  <a:pt x="1507560" y="4833187"/>
                </a:cubicBezTo>
                <a:cubicBezTo>
                  <a:pt x="1868172" y="5375470"/>
                  <a:pt x="2358379" y="5799728"/>
                  <a:pt x="2899298" y="6044904"/>
                </a:cubicBezTo>
                <a:cubicBezTo>
                  <a:pt x="3417678" y="6284729"/>
                  <a:pt x="3961100" y="6355859"/>
                  <a:pt x="4451308" y="6264587"/>
                </a:cubicBezTo>
                <a:cubicBezTo>
                  <a:pt x="4894560" y="6182127"/>
                  <a:pt x="5275520" y="5964962"/>
                  <a:pt x="5557561" y="5657469"/>
                </a:cubicBezTo>
                <a:cubicBezTo>
                  <a:pt x="5812682" y="5379246"/>
                  <a:pt x="5984223" y="5031468"/>
                  <a:pt x="6065611" y="4656622"/>
                </a:cubicBezTo>
                <a:cubicBezTo>
                  <a:pt x="6121722" y="4400509"/>
                  <a:pt x="6135750" y="4128640"/>
                  <a:pt x="6111392" y="3856550"/>
                </a:cubicBezTo>
                <a:lnTo>
                  <a:pt x="6076241" y="3598641"/>
                </a:lnTo>
                <a:lnTo>
                  <a:pt x="6078930" y="3597974"/>
                </a:lnTo>
                <a:lnTo>
                  <a:pt x="6077344" y="3597317"/>
                </a:lnTo>
                <a:lnTo>
                  <a:pt x="6075431" y="3592700"/>
                </a:lnTo>
                <a:lnTo>
                  <a:pt x="6076241" y="3598641"/>
                </a:lnTo>
                <a:lnTo>
                  <a:pt x="6029926" y="3610139"/>
                </a:lnTo>
                <a:cubicBezTo>
                  <a:pt x="6046516" y="3582443"/>
                  <a:pt x="6057785" y="3535233"/>
                  <a:pt x="6061855" y="3495892"/>
                </a:cubicBezTo>
                <a:cubicBezTo>
                  <a:pt x="6081889" y="3541843"/>
                  <a:pt x="6112566" y="3597550"/>
                  <a:pt x="6140426" y="3635633"/>
                </a:cubicBezTo>
                <a:lnTo>
                  <a:pt x="6088005" y="3602243"/>
                </a:lnTo>
                <a:lnTo>
                  <a:pt x="6087834" y="3601006"/>
                </a:lnTo>
                <a:lnTo>
                  <a:pt x="6087042" y="3601334"/>
                </a:lnTo>
                <a:lnTo>
                  <a:pt x="6085715" y="3600784"/>
                </a:lnTo>
                <a:lnTo>
                  <a:pt x="6088005" y="3602243"/>
                </a:lnTo>
                <a:lnTo>
                  <a:pt x="6123869" y="3860961"/>
                </a:lnTo>
                <a:cubicBezTo>
                  <a:pt x="6149034" y="4134955"/>
                  <a:pt x="6135417" y="4408771"/>
                  <a:pt x="6078133" y="4667008"/>
                </a:cubicBezTo>
                <a:cubicBezTo>
                  <a:pt x="5997057" y="5044057"/>
                  <a:pt x="5825516" y="5395927"/>
                  <a:pt x="5568830" y="5676668"/>
                </a:cubicBezTo>
                <a:cubicBezTo>
                  <a:pt x="5285850" y="5988882"/>
                  <a:pt x="4902073" y="6208564"/>
                  <a:pt x="4455064" y="6292598"/>
                </a:cubicBezTo>
                <a:cubicBezTo>
                  <a:pt x="3959848" y="6386388"/>
                  <a:pt x="3411104" y="6315258"/>
                  <a:pt x="2888031" y="6074174"/>
                </a:cubicBezTo>
                <a:cubicBezTo>
                  <a:pt x="2341789" y="5827739"/>
                  <a:pt x="1846573" y="5398445"/>
                  <a:pt x="1482204" y="4851127"/>
                </a:cubicBezTo>
                <a:cubicBezTo>
                  <a:pt x="1124096" y="4311362"/>
                  <a:pt x="932208" y="3714316"/>
                  <a:pt x="923443" y="3151890"/>
                </a:cubicBezTo>
                <a:cubicBezTo>
                  <a:pt x="910609" y="2618420"/>
                  <a:pt x="1050221" y="2133418"/>
                  <a:pt x="1309411" y="1752278"/>
                </a:cubicBezTo>
                <a:cubicBezTo>
                  <a:pt x="1512646" y="1452378"/>
                  <a:pt x="1786104" y="1222359"/>
                  <a:pt x="2097908" y="1073394"/>
                </a:cubicBezTo>
                <a:lnTo>
                  <a:pt x="2219486" y="1020743"/>
                </a:lnTo>
                <a:lnTo>
                  <a:pt x="2220931" y="1021737"/>
                </a:lnTo>
                <a:lnTo>
                  <a:pt x="2220363" y="1020364"/>
                </a:lnTo>
                <a:lnTo>
                  <a:pt x="2219486" y="1020743"/>
                </a:lnTo>
                <a:close/>
                <a:moveTo>
                  <a:pt x="3122802" y="691947"/>
                </a:moveTo>
                <a:cubicBezTo>
                  <a:pt x="3164748" y="719958"/>
                  <a:pt x="3225790" y="748914"/>
                  <a:pt x="3272744" y="766853"/>
                </a:cubicBezTo>
                <a:cubicBezTo>
                  <a:pt x="3237374" y="778184"/>
                  <a:pt x="3194174" y="797382"/>
                  <a:pt x="3170072" y="820043"/>
                </a:cubicBezTo>
                <a:lnTo>
                  <a:pt x="3172125" y="769175"/>
                </a:lnTo>
                <a:lnTo>
                  <a:pt x="3172023" y="769133"/>
                </a:lnTo>
                <a:lnTo>
                  <a:pt x="3170679" y="765893"/>
                </a:lnTo>
                <a:lnTo>
                  <a:pt x="3030241" y="757282"/>
                </a:lnTo>
                <a:cubicBezTo>
                  <a:pt x="2666237" y="745983"/>
                  <a:pt x="2305438" y="812214"/>
                  <a:pt x="1978672" y="962302"/>
                </a:cubicBezTo>
                <a:cubicBezTo>
                  <a:pt x="1559523" y="1152714"/>
                  <a:pt x="1205171" y="1476573"/>
                  <a:pt x="975406" y="1914995"/>
                </a:cubicBezTo>
                <a:cubicBezTo>
                  <a:pt x="714964" y="2408809"/>
                  <a:pt x="621055" y="3014667"/>
                  <a:pt x="732807" y="3654831"/>
                </a:cubicBezTo>
                <a:cubicBezTo>
                  <a:pt x="852072" y="4343150"/>
                  <a:pt x="1196407" y="5011010"/>
                  <a:pt x="1716978" y="5545739"/>
                </a:cubicBezTo>
                <a:cubicBezTo>
                  <a:pt x="2231289" y="6076692"/>
                  <a:pt x="2866429" y="6418176"/>
                  <a:pt x="3515344" y="6528646"/>
                </a:cubicBezTo>
                <a:cubicBezTo>
                  <a:pt x="4116051" y="6631564"/>
                  <a:pt x="4674812" y="6531164"/>
                  <a:pt x="5125578" y="6268363"/>
                </a:cubicBezTo>
                <a:cubicBezTo>
                  <a:pt x="5528449" y="6036091"/>
                  <a:pt x="5831777" y="5680445"/>
                  <a:pt x="6017404" y="5261222"/>
                </a:cubicBezTo>
                <a:cubicBezTo>
                  <a:pt x="6162847" y="4932406"/>
                  <a:pt x="6233514" y="4569373"/>
                  <a:pt x="6233599" y="4201219"/>
                </a:cubicBezTo>
                <a:lnTo>
                  <a:pt x="6229720" y="4057751"/>
                </a:lnTo>
                <a:lnTo>
                  <a:pt x="6182372" y="4059891"/>
                </a:lnTo>
                <a:cubicBezTo>
                  <a:pt x="6203971" y="4035657"/>
                  <a:pt x="6223066" y="3992538"/>
                  <a:pt x="6233083" y="3954456"/>
                </a:cubicBezTo>
                <a:cubicBezTo>
                  <a:pt x="6247170" y="4002610"/>
                  <a:pt x="6271273" y="4064927"/>
                  <a:pt x="6296628" y="4108045"/>
                </a:cubicBezTo>
                <a:lnTo>
                  <a:pt x="6241222" y="4060083"/>
                </a:lnTo>
                <a:cubicBezTo>
                  <a:pt x="6241201" y="4059322"/>
                  <a:pt x="6241181" y="4058560"/>
                  <a:pt x="6241160" y="4057799"/>
                </a:cubicBezTo>
                <a:lnTo>
                  <a:pt x="6239418" y="4058521"/>
                </a:lnTo>
                <a:lnTo>
                  <a:pt x="6245232" y="4207464"/>
                </a:lnTo>
                <a:cubicBezTo>
                  <a:pt x="6245365" y="4577851"/>
                  <a:pt x="6175485" y="4944051"/>
                  <a:pt x="6028674" y="5275070"/>
                </a:cubicBezTo>
                <a:cubicBezTo>
                  <a:pt x="5842107" y="5698069"/>
                  <a:pt x="5538466" y="6056234"/>
                  <a:pt x="5132151" y="6292598"/>
                </a:cubicBezTo>
                <a:cubicBezTo>
                  <a:pt x="4681073" y="6557916"/>
                  <a:pt x="4116051" y="6660834"/>
                  <a:pt x="3511587" y="6557916"/>
                </a:cubicBezTo>
                <a:cubicBezTo>
                  <a:pt x="2857352" y="6447446"/>
                  <a:pt x="2216263" y="6103129"/>
                  <a:pt x="1696631" y="5567456"/>
                </a:cubicBezTo>
                <a:cubicBezTo>
                  <a:pt x="1169799" y="5028950"/>
                  <a:pt x="824212" y="4353221"/>
                  <a:pt x="704947" y="3658608"/>
                </a:cubicBezTo>
                <a:cubicBezTo>
                  <a:pt x="593195" y="3013408"/>
                  <a:pt x="689609" y="2402514"/>
                  <a:pt x="952555" y="1904608"/>
                </a:cubicBezTo>
                <a:cubicBezTo>
                  <a:pt x="1186076" y="1463984"/>
                  <a:pt x="1542932" y="1137607"/>
                  <a:pt x="1965838" y="947195"/>
                </a:cubicBezTo>
                <a:cubicBezTo>
                  <a:pt x="2247801" y="818548"/>
                  <a:pt x="2554767" y="751333"/>
                  <a:pt x="2867457" y="742363"/>
                </a:cubicBezTo>
                <a:cubicBezTo>
                  <a:pt x="2919571" y="740868"/>
                  <a:pt x="2971845" y="740991"/>
                  <a:pt x="3024189" y="742717"/>
                </a:cubicBezTo>
                <a:lnTo>
                  <a:pt x="3167903" y="751838"/>
                </a:lnTo>
                <a:close/>
                <a:moveTo>
                  <a:pt x="2233794" y="617041"/>
                </a:moveTo>
                <a:cubicBezTo>
                  <a:pt x="2287321" y="637184"/>
                  <a:pt x="2359632" y="652606"/>
                  <a:pt x="2412847" y="658900"/>
                </a:cubicBezTo>
                <a:cubicBezTo>
                  <a:pt x="2379979" y="681561"/>
                  <a:pt x="2344293" y="718385"/>
                  <a:pt x="2330520" y="752690"/>
                </a:cubicBezTo>
                <a:lnTo>
                  <a:pt x="2311469" y="687733"/>
                </a:lnTo>
                <a:lnTo>
                  <a:pt x="2312797" y="687417"/>
                </a:lnTo>
                <a:lnTo>
                  <a:pt x="2311180" y="686748"/>
                </a:lnTo>
                <a:lnTo>
                  <a:pt x="2311469" y="687733"/>
                </a:lnTo>
                <a:lnTo>
                  <a:pt x="2172801" y="720716"/>
                </a:lnTo>
                <a:cubicBezTo>
                  <a:pt x="1819471" y="816930"/>
                  <a:pt x="1488700" y="993145"/>
                  <a:pt x="1214249" y="1244301"/>
                </a:cubicBezTo>
                <a:cubicBezTo>
                  <a:pt x="863654" y="1564383"/>
                  <a:pt x="601960" y="2008785"/>
                  <a:pt x="483947" y="2537219"/>
                </a:cubicBezTo>
                <a:cubicBezTo>
                  <a:pt x="353100" y="3115067"/>
                  <a:pt x="401306" y="3767820"/>
                  <a:pt x="641402" y="4403893"/>
                </a:cubicBezTo>
                <a:cubicBezTo>
                  <a:pt x="891514" y="5068291"/>
                  <a:pt x="1334766" y="5668799"/>
                  <a:pt x="1901040" y="6110997"/>
                </a:cubicBezTo>
                <a:cubicBezTo>
                  <a:pt x="2330520" y="6452481"/>
                  <a:pt x="2814466" y="6673423"/>
                  <a:pt x="3299352" y="6775081"/>
                </a:cubicBezTo>
                <a:lnTo>
                  <a:pt x="3157236" y="6775081"/>
                </a:lnTo>
                <a:cubicBezTo>
                  <a:pt x="2713983" y="6662093"/>
                  <a:pt x="2275739" y="6449963"/>
                  <a:pt x="1882258" y="6137435"/>
                </a:cubicBezTo>
                <a:cubicBezTo>
                  <a:pt x="1309411" y="5691775"/>
                  <a:pt x="863654" y="5084657"/>
                  <a:pt x="610725" y="4415538"/>
                </a:cubicBezTo>
                <a:cubicBezTo>
                  <a:pt x="369690" y="3774115"/>
                  <a:pt x="321170" y="3113807"/>
                  <a:pt x="454522" y="2532184"/>
                </a:cubicBezTo>
                <a:cubicBezTo>
                  <a:pt x="575352" y="1999972"/>
                  <a:pt x="839551" y="1553053"/>
                  <a:pt x="1193902" y="1231712"/>
                </a:cubicBezTo>
                <a:cubicBezTo>
                  <a:pt x="1471639" y="979455"/>
                  <a:pt x="1805938" y="802861"/>
                  <a:pt x="2161566" y="706569"/>
                </a:cubicBezTo>
                <a:lnTo>
                  <a:pt x="2302016" y="673345"/>
                </a:lnTo>
                <a:lnTo>
                  <a:pt x="2303894" y="674895"/>
                </a:lnTo>
                <a:lnTo>
                  <a:pt x="2304810" y="672684"/>
                </a:lnTo>
                <a:close/>
                <a:moveTo>
                  <a:pt x="1569853" y="478559"/>
                </a:moveTo>
                <a:cubicBezTo>
                  <a:pt x="1629329" y="493666"/>
                  <a:pt x="1708213" y="501220"/>
                  <a:pt x="1766437" y="501220"/>
                </a:cubicBezTo>
                <a:cubicBezTo>
                  <a:pt x="1736073" y="533008"/>
                  <a:pt x="1704457" y="577700"/>
                  <a:pt x="1696631" y="617041"/>
                </a:cubicBezTo>
                <a:lnTo>
                  <a:pt x="1664270" y="547240"/>
                </a:lnTo>
                <a:lnTo>
                  <a:pt x="1665289" y="546848"/>
                </a:lnTo>
                <a:lnTo>
                  <a:pt x="1663803" y="546232"/>
                </a:lnTo>
                <a:lnTo>
                  <a:pt x="1664270" y="547240"/>
                </a:lnTo>
                <a:lnTo>
                  <a:pt x="1515379" y="604535"/>
                </a:lnTo>
                <a:cubicBezTo>
                  <a:pt x="1141015" y="762403"/>
                  <a:pt x="796548" y="1005813"/>
                  <a:pt x="521824" y="1328020"/>
                </a:cubicBezTo>
                <a:cubicBezTo>
                  <a:pt x="299571" y="1588618"/>
                  <a:pt x="121769" y="1899573"/>
                  <a:pt x="0" y="2248925"/>
                </a:cubicBezTo>
                <a:lnTo>
                  <a:pt x="0" y="2161115"/>
                </a:lnTo>
                <a:lnTo>
                  <a:pt x="1252" y="2161115"/>
                </a:lnTo>
                <a:cubicBezTo>
                  <a:pt x="123334" y="1843865"/>
                  <a:pt x="292058" y="1558089"/>
                  <a:pt x="498972" y="1316690"/>
                </a:cubicBezTo>
                <a:cubicBezTo>
                  <a:pt x="776983" y="993381"/>
                  <a:pt x="1124737" y="747664"/>
                  <a:pt x="1501760" y="590081"/>
                </a:cubicBezTo>
                <a:lnTo>
                  <a:pt x="1652156" y="532864"/>
                </a:lnTo>
                <a:lnTo>
                  <a:pt x="1653585" y="533807"/>
                </a:lnTo>
                <a:lnTo>
                  <a:pt x="1654316" y="532042"/>
                </a:lnTo>
                <a:lnTo>
                  <a:pt x="1652156" y="532864"/>
                </a:lnTo>
                <a:close/>
                <a:moveTo>
                  <a:pt x="2350867" y="454325"/>
                </a:moveTo>
                <a:cubicBezTo>
                  <a:pt x="2401578" y="477300"/>
                  <a:pt x="2471385" y="496184"/>
                  <a:pt x="2523347" y="506570"/>
                </a:cubicBezTo>
                <a:cubicBezTo>
                  <a:pt x="2489226" y="525454"/>
                  <a:pt x="2451037" y="557242"/>
                  <a:pt x="2434446" y="587771"/>
                </a:cubicBezTo>
                <a:lnTo>
                  <a:pt x="2420975" y="525119"/>
                </a:lnTo>
                <a:lnTo>
                  <a:pt x="2421313" y="525070"/>
                </a:lnTo>
                <a:lnTo>
                  <a:pt x="2420928" y="524910"/>
                </a:lnTo>
                <a:cubicBezTo>
                  <a:pt x="2420943" y="524980"/>
                  <a:pt x="2420958" y="525049"/>
                  <a:pt x="2420975" y="525119"/>
                </a:cubicBezTo>
                <a:lnTo>
                  <a:pt x="2258839" y="548648"/>
                </a:lnTo>
                <a:cubicBezTo>
                  <a:pt x="1848074" y="621846"/>
                  <a:pt x="1457592" y="787665"/>
                  <a:pt x="1125348" y="1050112"/>
                </a:cubicBezTo>
                <a:cubicBezTo>
                  <a:pt x="693365" y="1389078"/>
                  <a:pt x="368438" y="1883207"/>
                  <a:pt x="217244" y="2492842"/>
                </a:cubicBezTo>
                <a:cubicBezTo>
                  <a:pt x="46955" y="3169516"/>
                  <a:pt x="109248" y="3940608"/>
                  <a:pt x="422906" y="4684633"/>
                </a:cubicBezTo>
                <a:cubicBezTo>
                  <a:pt x="749397" y="5464539"/>
                  <a:pt x="1315672" y="6134917"/>
                  <a:pt x="2023123" y="6580892"/>
                </a:cubicBezTo>
                <a:cubicBezTo>
                  <a:pt x="2134875" y="6653280"/>
                  <a:pt x="2249132" y="6717800"/>
                  <a:pt x="2365892" y="6775081"/>
                </a:cubicBezTo>
                <a:lnTo>
                  <a:pt x="2288574" y="6775081"/>
                </a:lnTo>
                <a:cubicBezTo>
                  <a:pt x="2193412" y="6725668"/>
                  <a:pt x="2097937" y="6670905"/>
                  <a:pt x="2005280" y="6611106"/>
                </a:cubicBezTo>
                <a:cubicBezTo>
                  <a:pt x="1290316" y="6162928"/>
                  <a:pt x="718720" y="5485940"/>
                  <a:pt x="391289" y="4698796"/>
                </a:cubicBezTo>
                <a:cubicBezTo>
                  <a:pt x="74815" y="3948161"/>
                  <a:pt x="14087" y="3170774"/>
                  <a:pt x="186567" y="2488750"/>
                </a:cubicBezTo>
                <a:cubicBezTo>
                  <a:pt x="340265" y="1875338"/>
                  <a:pt x="669261" y="1377748"/>
                  <a:pt x="1106253" y="1037208"/>
                </a:cubicBezTo>
                <a:cubicBezTo>
                  <a:pt x="1441784" y="773935"/>
                  <a:pt x="1835793" y="606807"/>
                  <a:pt x="2248855" y="534350"/>
                </a:cubicBezTo>
                <a:lnTo>
                  <a:pt x="2412175" y="511182"/>
                </a:lnTo>
                <a:lnTo>
                  <a:pt x="2413618" y="512520"/>
                </a:lnTo>
                <a:lnTo>
                  <a:pt x="2414296" y="510881"/>
                </a:lnTo>
                <a:lnTo>
                  <a:pt x="2412175" y="511182"/>
                </a:lnTo>
                <a:close/>
                <a:moveTo>
                  <a:pt x="2706471" y="194042"/>
                </a:moveTo>
                <a:cubicBezTo>
                  <a:pt x="2750921" y="222053"/>
                  <a:pt x="2814466" y="248490"/>
                  <a:pt x="2862673" y="266430"/>
                </a:cubicBezTo>
                <a:cubicBezTo>
                  <a:pt x="2825735" y="277760"/>
                  <a:pt x="2782537" y="298218"/>
                  <a:pt x="2760938" y="319620"/>
                </a:cubicBezTo>
                <a:cubicBezTo>
                  <a:pt x="2760581" y="302321"/>
                  <a:pt x="2760225" y="285023"/>
                  <a:pt x="2759868" y="267724"/>
                </a:cubicBezTo>
                <a:lnTo>
                  <a:pt x="2759125" y="267416"/>
                </a:lnTo>
                <a:lnTo>
                  <a:pt x="2758932" y="266947"/>
                </a:lnTo>
                <a:lnTo>
                  <a:pt x="2609322" y="259473"/>
                </a:lnTo>
                <a:cubicBezTo>
                  <a:pt x="2225508" y="250054"/>
                  <a:pt x="1842112" y="308919"/>
                  <a:pt x="1482204" y="436700"/>
                </a:cubicBezTo>
                <a:cubicBezTo>
                  <a:pt x="1019857" y="600360"/>
                  <a:pt x="590691" y="881101"/>
                  <a:pt x="255121" y="1277348"/>
                </a:cubicBezTo>
                <a:cubicBezTo>
                  <a:pt x="163716" y="1385301"/>
                  <a:pt x="78884" y="1502067"/>
                  <a:pt x="1252" y="1625441"/>
                </a:cubicBezTo>
                <a:lnTo>
                  <a:pt x="1252" y="1573196"/>
                </a:lnTo>
                <a:cubicBezTo>
                  <a:pt x="72310" y="1465243"/>
                  <a:pt x="148690" y="1362326"/>
                  <a:pt x="231017" y="1266018"/>
                </a:cubicBezTo>
                <a:cubicBezTo>
                  <a:pt x="570343" y="867253"/>
                  <a:pt x="1003266" y="586512"/>
                  <a:pt x="1468118" y="422537"/>
                </a:cubicBezTo>
                <a:cubicBezTo>
                  <a:pt x="1778723" y="313010"/>
                  <a:pt x="2106409" y="254293"/>
                  <a:pt x="2436647" y="246253"/>
                </a:cubicBezTo>
                <a:cubicBezTo>
                  <a:pt x="2491687" y="244913"/>
                  <a:pt x="2546797" y="244980"/>
                  <a:pt x="2601914" y="246455"/>
                </a:cubicBezTo>
                <a:lnTo>
                  <a:pt x="2756112" y="254520"/>
                </a:lnTo>
                <a:cubicBezTo>
                  <a:pt x="2756181" y="254607"/>
                  <a:pt x="2756253" y="254693"/>
                  <a:pt x="2756326" y="254780"/>
                </a:cubicBezTo>
                <a:cubicBezTo>
                  <a:pt x="2756358" y="254699"/>
                  <a:pt x="2756392" y="254618"/>
                  <a:pt x="2756425" y="254537"/>
                </a:cubicBezTo>
                <a:lnTo>
                  <a:pt x="2756112" y="254520"/>
                </a:lnTo>
                <a:close/>
                <a:moveTo>
                  <a:pt x="1577366" y="148405"/>
                </a:moveTo>
                <a:cubicBezTo>
                  <a:pt x="1635903" y="167289"/>
                  <a:pt x="1713221" y="181452"/>
                  <a:pt x="1770506" y="186488"/>
                </a:cubicBezTo>
                <a:cubicBezTo>
                  <a:pt x="1737325" y="211667"/>
                  <a:pt x="1701952" y="250064"/>
                  <a:pt x="1689118" y="285314"/>
                </a:cubicBezTo>
                <a:lnTo>
                  <a:pt x="1664706" y="219678"/>
                </a:lnTo>
                <a:lnTo>
                  <a:pt x="1668138" y="218818"/>
                </a:lnTo>
                <a:lnTo>
                  <a:pt x="1502526" y="260304"/>
                </a:lnTo>
                <a:cubicBezTo>
                  <a:pt x="1089819" y="376188"/>
                  <a:pt x="694578" y="575536"/>
                  <a:pt x="356856" y="855608"/>
                </a:cubicBezTo>
                <a:cubicBezTo>
                  <a:pt x="231017" y="958525"/>
                  <a:pt x="111752" y="1074031"/>
                  <a:pt x="1252" y="1201183"/>
                </a:cubicBezTo>
                <a:lnTo>
                  <a:pt x="1252" y="1161842"/>
                </a:lnTo>
                <a:cubicBezTo>
                  <a:pt x="105492" y="1046335"/>
                  <a:pt x="217244" y="939641"/>
                  <a:pt x="335257" y="843018"/>
                </a:cubicBezTo>
                <a:cubicBezTo>
                  <a:pt x="676539" y="561845"/>
                  <a:pt x="1075102" y="362359"/>
                  <a:pt x="1490051" y="246248"/>
                </a:cubicBezTo>
                <a:lnTo>
                  <a:pt x="1654245" y="205224"/>
                </a:lnTo>
                <a:lnTo>
                  <a:pt x="1655226" y="205949"/>
                </a:lnTo>
                <a:lnTo>
                  <a:pt x="1654969" y="205329"/>
                </a:lnTo>
                <a:lnTo>
                  <a:pt x="1655101" y="205010"/>
                </a:lnTo>
                <a:lnTo>
                  <a:pt x="1654245" y="205224"/>
                </a:lnTo>
                <a:close/>
                <a:moveTo>
                  <a:pt x="2251163" y="137"/>
                </a:moveTo>
                <a:cubicBezTo>
                  <a:pt x="2616452" y="-2965"/>
                  <a:pt x="2984449" y="47022"/>
                  <a:pt x="3337589" y="142529"/>
                </a:cubicBezTo>
                <a:lnTo>
                  <a:pt x="3500697" y="190472"/>
                </a:lnTo>
                <a:lnTo>
                  <a:pt x="3500819" y="190693"/>
                </a:lnTo>
                <a:cubicBezTo>
                  <a:pt x="3500842" y="190638"/>
                  <a:pt x="3500864" y="190583"/>
                  <a:pt x="3500887" y="190528"/>
                </a:cubicBezTo>
                <a:lnTo>
                  <a:pt x="3500697" y="190472"/>
                </a:lnTo>
                <a:lnTo>
                  <a:pt x="3470893" y="136760"/>
                </a:lnTo>
                <a:cubicBezTo>
                  <a:pt x="3505327" y="167289"/>
                  <a:pt x="3556038" y="202854"/>
                  <a:pt x="3596732" y="225829"/>
                </a:cubicBezTo>
                <a:cubicBezTo>
                  <a:pt x="3561046" y="225829"/>
                  <a:pt x="3516596" y="229606"/>
                  <a:pt x="3489988" y="242196"/>
                </a:cubicBezTo>
                <a:lnTo>
                  <a:pt x="3502515" y="201613"/>
                </a:lnTo>
                <a:lnTo>
                  <a:pt x="3340978" y="154278"/>
                </a:lnTo>
                <a:cubicBezTo>
                  <a:pt x="2930934" y="43713"/>
                  <a:pt x="2499948" y="-5616"/>
                  <a:pt x="2077590" y="19995"/>
                </a:cubicBezTo>
                <a:cubicBezTo>
                  <a:pt x="1532915" y="51783"/>
                  <a:pt x="985423" y="207890"/>
                  <a:pt x="503042" y="494925"/>
                </a:cubicBezTo>
                <a:cubicBezTo>
                  <a:pt x="326492" y="599101"/>
                  <a:pt x="157455" y="721217"/>
                  <a:pt x="1252" y="860643"/>
                </a:cubicBezTo>
                <a:lnTo>
                  <a:pt x="1252" y="826338"/>
                </a:lnTo>
                <a:cubicBezTo>
                  <a:pt x="153699" y="694465"/>
                  <a:pt x="314910" y="578958"/>
                  <a:pt x="483947" y="479818"/>
                </a:cubicBezTo>
                <a:cubicBezTo>
                  <a:pt x="970398" y="192783"/>
                  <a:pt x="1521333" y="36676"/>
                  <a:pt x="2068825" y="6147"/>
                </a:cubicBezTo>
                <a:cubicBezTo>
                  <a:pt x="2129475" y="2645"/>
                  <a:pt x="2190281" y="654"/>
                  <a:pt x="2251163" y="137"/>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2532594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D08B00A-9A13-4AB1-A72D-2F499BA2EBAB}"/>
              </a:ext>
            </a:extLst>
          </p:cNvPr>
          <p:cNvSpPr>
            <a:spLocks noGrp="1"/>
          </p:cNvSpPr>
          <p:nvPr>
            <p:ph type="title"/>
          </p:nvPr>
        </p:nvSpPr>
        <p:spPr>
          <a:xfrm>
            <a:off x="1077685" y="273844"/>
            <a:ext cx="7437665" cy="994172"/>
          </a:xfrm>
        </p:spPr>
        <p:txBody>
          <a:bodyPr/>
          <a:lstStyle/>
          <a:p>
            <a:r>
              <a:rPr lang="en-US"/>
              <a:t>Click to edit Master title style</a:t>
            </a:r>
          </a:p>
        </p:txBody>
      </p:sp>
      <p:sp>
        <p:nvSpPr>
          <p:cNvPr id="18" name="Content Placeholder 2">
            <a:extLst>
              <a:ext uri="{FF2B5EF4-FFF2-40B4-BE49-F238E27FC236}">
                <a16:creationId xmlns:a16="http://schemas.microsoft.com/office/drawing/2014/main" id="{489DC5E6-DDCD-4B67-B47F-0BD6C54B83D2}"/>
              </a:ext>
            </a:extLst>
          </p:cNvPr>
          <p:cNvSpPr>
            <a:spLocks noGrp="1"/>
          </p:cNvSpPr>
          <p:nvPr>
            <p:ph idx="1"/>
          </p:nvPr>
        </p:nvSpPr>
        <p:spPr>
          <a:xfrm>
            <a:off x="1077685" y="1369219"/>
            <a:ext cx="7437665"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3">
            <a:extLst>
              <a:ext uri="{FF2B5EF4-FFF2-40B4-BE49-F238E27FC236}">
                <a16:creationId xmlns:a16="http://schemas.microsoft.com/office/drawing/2014/main" id="{768C53B7-7FCD-400A-9752-7BFFD8BB3D75}"/>
              </a:ext>
            </a:extLst>
          </p:cNvPr>
          <p:cNvSpPr>
            <a:spLocks noGrp="1"/>
          </p:cNvSpPr>
          <p:nvPr>
            <p:ph type="dt" sz="half" idx="10"/>
          </p:nvPr>
        </p:nvSpPr>
        <p:spPr>
          <a:xfrm>
            <a:off x="628650" y="4767263"/>
            <a:ext cx="2057400" cy="273844"/>
          </a:xfrm>
        </p:spPr>
        <p:txBody>
          <a:bodyPr/>
          <a:lstStyle/>
          <a:p>
            <a:r>
              <a:rPr lang="en-US"/>
              <a:t>Date</a:t>
            </a:r>
          </a:p>
        </p:txBody>
      </p:sp>
      <p:sp>
        <p:nvSpPr>
          <p:cNvPr id="20" name="Footer Placeholder 4">
            <a:extLst>
              <a:ext uri="{FF2B5EF4-FFF2-40B4-BE49-F238E27FC236}">
                <a16:creationId xmlns:a16="http://schemas.microsoft.com/office/drawing/2014/main" id="{10C428BE-FED7-45A5-9425-7445C51F35BB}"/>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21" name="Slide Number Placeholder 5">
            <a:extLst>
              <a:ext uri="{FF2B5EF4-FFF2-40B4-BE49-F238E27FC236}">
                <a16:creationId xmlns:a16="http://schemas.microsoft.com/office/drawing/2014/main" id="{18FDE52B-46E4-490F-8D9A-1A96457A334F}"/>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
        <p:nvSpPr>
          <p:cNvPr id="10" name="Shape">
            <a:extLst>
              <a:ext uri="{FF2B5EF4-FFF2-40B4-BE49-F238E27FC236}">
                <a16:creationId xmlns:a16="http://schemas.microsoft.com/office/drawing/2014/main" id="{6CD5C797-320D-0640-B156-A958435C666B}"/>
              </a:ext>
            </a:extLst>
          </p:cNvPr>
          <p:cNvSpPr/>
          <p:nvPr userDrawn="1"/>
        </p:nvSpPr>
        <p:spPr>
          <a:xfrm>
            <a:off x="0" y="-8576"/>
            <a:ext cx="8244845" cy="5152076"/>
          </a:xfrm>
          <a:custGeom>
            <a:avLst/>
            <a:gdLst/>
            <a:ahLst/>
            <a:cxnLst>
              <a:cxn ang="0">
                <a:pos x="wd2" y="hd2"/>
              </a:cxn>
              <a:cxn ang="5400000">
                <a:pos x="wd2" y="hd2"/>
              </a:cxn>
              <a:cxn ang="10800000">
                <a:pos x="wd2" y="hd2"/>
              </a:cxn>
              <a:cxn ang="16200000">
                <a:pos x="wd2" y="hd2"/>
              </a:cxn>
            </a:cxnLst>
            <a:rect l="0" t="0" r="r" b="b"/>
            <a:pathLst>
              <a:path w="21600" h="21445" extrusionOk="0">
                <a:moveTo>
                  <a:pt x="20500" y="20402"/>
                </a:moveTo>
                <a:cubicBezTo>
                  <a:pt x="20422" y="20406"/>
                  <a:pt x="20347" y="20410"/>
                  <a:pt x="20270" y="20414"/>
                </a:cubicBezTo>
                <a:cubicBezTo>
                  <a:pt x="20367" y="20244"/>
                  <a:pt x="20455" y="19923"/>
                  <a:pt x="20502" y="19653"/>
                </a:cubicBezTo>
                <a:cubicBezTo>
                  <a:pt x="20572" y="20002"/>
                  <a:pt x="20682" y="20454"/>
                  <a:pt x="20796" y="20763"/>
                </a:cubicBezTo>
                <a:cubicBezTo>
                  <a:pt x="20717" y="20656"/>
                  <a:pt x="20637" y="20545"/>
                  <a:pt x="20557" y="20438"/>
                </a:cubicBezTo>
                <a:cubicBezTo>
                  <a:pt x="20567" y="20775"/>
                  <a:pt x="20574" y="21108"/>
                  <a:pt x="20574" y="21441"/>
                </a:cubicBezTo>
                <a:lnTo>
                  <a:pt x="20519" y="21441"/>
                </a:lnTo>
                <a:cubicBezTo>
                  <a:pt x="20515" y="21096"/>
                  <a:pt x="20510" y="20751"/>
                  <a:pt x="20500" y="20402"/>
                </a:cubicBezTo>
                <a:close/>
                <a:moveTo>
                  <a:pt x="18890" y="21445"/>
                </a:moveTo>
                <a:lnTo>
                  <a:pt x="18952" y="21445"/>
                </a:lnTo>
                <a:cubicBezTo>
                  <a:pt x="19005" y="20688"/>
                  <a:pt x="19025" y="19919"/>
                  <a:pt x="19007" y="19145"/>
                </a:cubicBezTo>
                <a:cubicBezTo>
                  <a:pt x="19090" y="19252"/>
                  <a:pt x="19174" y="19363"/>
                  <a:pt x="19257" y="19471"/>
                </a:cubicBezTo>
                <a:cubicBezTo>
                  <a:pt x="19142" y="19157"/>
                  <a:pt x="19027" y="18701"/>
                  <a:pt x="18957" y="18352"/>
                </a:cubicBezTo>
                <a:cubicBezTo>
                  <a:pt x="18905" y="18626"/>
                  <a:pt x="18810" y="18951"/>
                  <a:pt x="18708" y="19130"/>
                </a:cubicBezTo>
                <a:cubicBezTo>
                  <a:pt x="18790" y="19122"/>
                  <a:pt x="18870" y="19118"/>
                  <a:pt x="18950" y="19110"/>
                </a:cubicBezTo>
                <a:cubicBezTo>
                  <a:pt x="18967" y="19895"/>
                  <a:pt x="18947" y="20676"/>
                  <a:pt x="18890" y="21445"/>
                </a:cubicBezTo>
                <a:close/>
                <a:moveTo>
                  <a:pt x="0" y="21445"/>
                </a:moveTo>
                <a:lnTo>
                  <a:pt x="0" y="21445"/>
                </a:lnTo>
                <a:cubicBezTo>
                  <a:pt x="0" y="21445"/>
                  <a:pt x="0" y="21441"/>
                  <a:pt x="0" y="21445"/>
                </a:cubicBezTo>
                <a:lnTo>
                  <a:pt x="0" y="21445"/>
                </a:lnTo>
                <a:close/>
                <a:moveTo>
                  <a:pt x="19726" y="16338"/>
                </a:moveTo>
                <a:cubicBezTo>
                  <a:pt x="19706" y="16620"/>
                  <a:pt x="19656" y="16965"/>
                  <a:pt x="19581" y="17163"/>
                </a:cubicBezTo>
                <a:cubicBezTo>
                  <a:pt x="19651" y="17135"/>
                  <a:pt x="19718" y="17108"/>
                  <a:pt x="19788" y="17076"/>
                </a:cubicBezTo>
                <a:cubicBezTo>
                  <a:pt x="19953" y="18527"/>
                  <a:pt x="20025" y="19998"/>
                  <a:pt x="19995" y="21441"/>
                </a:cubicBezTo>
                <a:lnTo>
                  <a:pt x="20053" y="21441"/>
                </a:lnTo>
                <a:cubicBezTo>
                  <a:pt x="20080" y="20002"/>
                  <a:pt x="20008" y="18539"/>
                  <a:pt x="19841" y="17096"/>
                </a:cubicBezTo>
                <a:cubicBezTo>
                  <a:pt x="19921" y="17179"/>
                  <a:pt x="20003" y="17258"/>
                  <a:pt x="20083" y="17341"/>
                </a:cubicBezTo>
                <a:cubicBezTo>
                  <a:pt x="19956" y="17076"/>
                  <a:pt x="19816" y="16664"/>
                  <a:pt x="19726" y="16338"/>
                </a:cubicBezTo>
                <a:close/>
                <a:moveTo>
                  <a:pt x="5679" y="273"/>
                </a:moveTo>
                <a:cubicBezTo>
                  <a:pt x="4020" y="737"/>
                  <a:pt x="2483" y="2081"/>
                  <a:pt x="1397" y="4167"/>
                </a:cubicBezTo>
                <a:cubicBezTo>
                  <a:pt x="781" y="5332"/>
                  <a:pt x="307" y="6744"/>
                  <a:pt x="0" y="8326"/>
                </a:cubicBezTo>
                <a:lnTo>
                  <a:pt x="0" y="8972"/>
                </a:lnTo>
                <a:cubicBezTo>
                  <a:pt x="289" y="7164"/>
                  <a:pt x="799" y="5554"/>
                  <a:pt x="1480" y="4254"/>
                </a:cubicBezTo>
                <a:cubicBezTo>
                  <a:pt x="2553" y="2180"/>
                  <a:pt x="4075" y="844"/>
                  <a:pt x="5717" y="380"/>
                </a:cubicBezTo>
                <a:cubicBezTo>
                  <a:pt x="7212" y="-48"/>
                  <a:pt x="8799" y="222"/>
                  <a:pt x="10336" y="1094"/>
                </a:cubicBezTo>
                <a:cubicBezTo>
                  <a:pt x="10303" y="1201"/>
                  <a:pt x="10273" y="1312"/>
                  <a:pt x="10241" y="1419"/>
                </a:cubicBezTo>
                <a:cubicBezTo>
                  <a:pt x="10381" y="1328"/>
                  <a:pt x="10605" y="1300"/>
                  <a:pt x="10785" y="1308"/>
                </a:cubicBezTo>
                <a:cubicBezTo>
                  <a:pt x="10603" y="1110"/>
                  <a:pt x="10373" y="816"/>
                  <a:pt x="10229" y="563"/>
                </a:cubicBezTo>
                <a:cubicBezTo>
                  <a:pt x="10263" y="709"/>
                  <a:pt x="10298" y="856"/>
                  <a:pt x="10333" y="1003"/>
                </a:cubicBezTo>
                <a:cubicBezTo>
                  <a:pt x="8786" y="119"/>
                  <a:pt x="7187" y="-155"/>
                  <a:pt x="5679" y="273"/>
                </a:cubicBezTo>
                <a:close/>
                <a:moveTo>
                  <a:pt x="18296" y="21445"/>
                </a:moveTo>
                <a:lnTo>
                  <a:pt x="18363" y="21445"/>
                </a:lnTo>
                <a:cubicBezTo>
                  <a:pt x="18523" y="19871"/>
                  <a:pt x="18516" y="18218"/>
                  <a:pt x="18356" y="16556"/>
                </a:cubicBezTo>
                <a:cubicBezTo>
                  <a:pt x="18441" y="16644"/>
                  <a:pt x="18526" y="16727"/>
                  <a:pt x="18611" y="16814"/>
                </a:cubicBezTo>
                <a:cubicBezTo>
                  <a:pt x="18481" y="16537"/>
                  <a:pt x="18341" y="16112"/>
                  <a:pt x="18251" y="15779"/>
                </a:cubicBezTo>
                <a:cubicBezTo>
                  <a:pt x="18224" y="16069"/>
                  <a:pt x="18161" y="16418"/>
                  <a:pt x="18077" y="16620"/>
                </a:cubicBezTo>
                <a:cubicBezTo>
                  <a:pt x="18151" y="16592"/>
                  <a:pt x="18226" y="16564"/>
                  <a:pt x="18299" y="16537"/>
                </a:cubicBezTo>
                <a:cubicBezTo>
                  <a:pt x="18461" y="18206"/>
                  <a:pt x="18463" y="19863"/>
                  <a:pt x="18296" y="21445"/>
                </a:cubicBezTo>
                <a:close/>
                <a:moveTo>
                  <a:pt x="1597" y="1891"/>
                </a:moveTo>
                <a:cubicBezTo>
                  <a:pt x="986" y="2668"/>
                  <a:pt x="447" y="3600"/>
                  <a:pt x="0" y="4670"/>
                </a:cubicBezTo>
                <a:lnTo>
                  <a:pt x="0" y="4979"/>
                </a:lnTo>
                <a:cubicBezTo>
                  <a:pt x="459" y="3822"/>
                  <a:pt x="1023" y="2815"/>
                  <a:pt x="1669" y="1990"/>
                </a:cubicBezTo>
                <a:cubicBezTo>
                  <a:pt x="2348" y="1122"/>
                  <a:pt x="3112" y="456"/>
                  <a:pt x="3925" y="0"/>
                </a:cubicBezTo>
                <a:lnTo>
                  <a:pt x="3691" y="0"/>
                </a:lnTo>
                <a:cubicBezTo>
                  <a:pt x="2937" y="452"/>
                  <a:pt x="2231" y="1082"/>
                  <a:pt x="1597" y="1891"/>
                </a:cubicBezTo>
                <a:close/>
                <a:moveTo>
                  <a:pt x="21263" y="17984"/>
                </a:moveTo>
                <a:cubicBezTo>
                  <a:pt x="21241" y="18257"/>
                  <a:pt x="21188" y="18590"/>
                  <a:pt x="21116" y="18777"/>
                </a:cubicBezTo>
                <a:cubicBezTo>
                  <a:pt x="21183" y="18757"/>
                  <a:pt x="21248" y="18733"/>
                  <a:pt x="21316" y="18713"/>
                </a:cubicBezTo>
                <a:cubicBezTo>
                  <a:pt x="21408" y="19621"/>
                  <a:pt x="21470" y="20533"/>
                  <a:pt x="21503" y="21445"/>
                </a:cubicBezTo>
                <a:lnTo>
                  <a:pt x="21555" y="21445"/>
                </a:lnTo>
                <a:cubicBezTo>
                  <a:pt x="21523" y="20541"/>
                  <a:pt x="21460" y="19633"/>
                  <a:pt x="21368" y="18737"/>
                </a:cubicBezTo>
                <a:cubicBezTo>
                  <a:pt x="21445" y="18824"/>
                  <a:pt x="21523" y="18912"/>
                  <a:pt x="21600" y="18999"/>
                </a:cubicBezTo>
                <a:cubicBezTo>
                  <a:pt x="21478" y="18721"/>
                  <a:pt x="21348" y="18305"/>
                  <a:pt x="21263" y="17984"/>
                </a:cubicBezTo>
                <a:close/>
                <a:moveTo>
                  <a:pt x="0" y="388"/>
                </a:moveTo>
                <a:lnTo>
                  <a:pt x="0" y="582"/>
                </a:lnTo>
                <a:cubicBezTo>
                  <a:pt x="162" y="380"/>
                  <a:pt x="327" y="186"/>
                  <a:pt x="497" y="0"/>
                </a:cubicBezTo>
                <a:lnTo>
                  <a:pt x="332" y="0"/>
                </a:lnTo>
                <a:cubicBezTo>
                  <a:pt x="220" y="123"/>
                  <a:pt x="110" y="253"/>
                  <a:pt x="0" y="388"/>
                </a:cubicBezTo>
                <a:close/>
                <a:moveTo>
                  <a:pt x="19077" y="16834"/>
                </a:moveTo>
                <a:cubicBezTo>
                  <a:pt x="19147" y="16802"/>
                  <a:pt x="19217" y="16771"/>
                  <a:pt x="19287" y="16743"/>
                </a:cubicBezTo>
                <a:cubicBezTo>
                  <a:pt x="19469" y="18313"/>
                  <a:pt x="19524" y="19899"/>
                  <a:pt x="19451" y="21445"/>
                </a:cubicBezTo>
                <a:lnTo>
                  <a:pt x="19514" y="21445"/>
                </a:lnTo>
                <a:cubicBezTo>
                  <a:pt x="19581" y="19887"/>
                  <a:pt x="19521" y="18305"/>
                  <a:pt x="19339" y="16763"/>
                </a:cubicBezTo>
                <a:cubicBezTo>
                  <a:pt x="19422" y="16842"/>
                  <a:pt x="19504" y="16925"/>
                  <a:pt x="19586" y="17004"/>
                </a:cubicBezTo>
                <a:cubicBezTo>
                  <a:pt x="19456" y="16735"/>
                  <a:pt x="19314" y="16323"/>
                  <a:pt x="19222" y="15997"/>
                </a:cubicBezTo>
                <a:cubicBezTo>
                  <a:pt x="19202" y="16283"/>
                  <a:pt x="19152" y="16628"/>
                  <a:pt x="19077" y="16834"/>
                </a:cubicBezTo>
                <a:close/>
                <a:moveTo>
                  <a:pt x="1420" y="614"/>
                </a:moveTo>
                <a:cubicBezTo>
                  <a:pt x="1487" y="789"/>
                  <a:pt x="1555" y="967"/>
                  <a:pt x="1622" y="1141"/>
                </a:cubicBezTo>
                <a:cubicBezTo>
                  <a:pt x="1624" y="808"/>
                  <a:pt x="1714" y="400"/>
                  <a:pt x="1817" y="119"/>
                </a:cubicBezTo>
                <a:cubicBezTo>
                  <a:pt x="1570" y="194"/>
                  <a:pt x="1225" y="238"/>
                  <a:pt x="956" y="186"/>
                </a:cubicBezTo>
                <a:cubicBezTo>
                  <a:pt x="1088" y="297"/>
                  <a:pt x="1220" y="408"/>
                  <a:pt x="1352" y="515"/>
                </a:cubicBezTo>
                <a:cubicBezTo>
                  <a:pt x="868" y="1026"/>
                  <a:pt x="414" y="1621"/>
                  <a:pt x="2" y="2299"/>
                </a:cubicBezTo>
                <a:lnTo>
                  <a:pt x="2" y="2533"/>
                </a:lnTo>
                <a:cubicBezTo>
                  <a:pt x="432" y="1800"/>
                  <a:pt x="908" y="1157"/>
                  <a:pt x="1420" y="614"/>
                </a:cubicBezTo>
                <a:close/>
                <a:moveTo>
                  <a:pt x="0" y="17139"/>
                </a:moveTo>
                <a:cubicBezTo>
                  <a:pt x="255" y="18602"/>
                  <a:pt x="626" y="20053"/>
                  <a:pt x="1108" y="21441"/>
                </a:cubicBezTo>
                <a:lnTo>
                  <a:pt x="1243" y="21441"/>
                </a:lnTo>
                <a:cubicBezTo>
                  <a:pt x="671" y="19815"/>
                  <a:pt x="252" y="18103"/>
                  <a:pt x="0" y="16382"/>
                </a:cubicBezTo>
                <a:lnTo>
                  <a:pt x="0" y="17139"/>
                </a:lnTo>
                <a:close/>
              </a:path>
            </a:pathLst>
          </a:custGeom>
          <a:gradFill>
            <a:gsLst>
              <a:gs pos="0">
                <a:schemeClr val="accent1"/>
              </a:gs>
              <a:gs pos="100000">
                <a:schemeClr val="bg2">
                  <a:lumMod val="50000"/>
                </a:schemeClr>
              </a:gs>
            </a:gsLst>
            <a:lin ang="5400000" scaled="1"/>
          </a:gradFill>
          <a:ln w="12700">
            <a:miter lim="400000"/>
          </a:ln>
        </p:spPr>
        <p:txBody>
          <a:bodyPr lIns="28575" tIns="28575" rIns="28575" bIns="28575" anchor="ctr"/>
          <a:lstStyle/>
          <a:p>
            <a:pPr>
              <a:defRPr sz="3000">
                <a:solidFill>
                  <a:srgbClr val="FFFFFF"/>
                </a:solidFill>
                <a:effectLst>
                  <a:outerShdw blurRad="38100" dist="12700" dir="5400000" rotWithShape="0">
                    <a:srgbClr val="000000">
                      <a:alpha val="50000"/>
                    </a:srgbClr>
                  </a:outerShdw>
                </a:effectLst>
              </a:defRPr>
            </a:pPr>
            <a:endParaRPr sz="2250"/>
          </a:p>
        </p:txBody>
      </p:sp>
    </p:spTree>
    <p:extLst>
      <p:ext uri="{BB962C8B-B14F-4D97-AF65-F5344CB8AC3E}">
        <p14:creationId xmlns:p14="http://schemas.microsoft.com/office/powerpoint/2010/main" val="31370680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831D2F6-2582-442D-8E86-A30C451AB52E}"/>
              </a:ext>
            </a:extLst>
          </p:cNvPr>
          <p:cNvSpPr/>
          <p:nvPr userDrawn="1"/>
        </p:nvSpPr>
        <p:spPr>
          <a:xfrm>
            <a:off x="7043737" y="523875"/>
            <a:ext cx="2100263" cy="4619625"/>
          </a:xfrm>
          <a:custGeom>
            <a:avLst/>
            <a:gdLst>
              <a:gd name="connsiteX0" fmla="*/ 294685 w 2800350"/>
              <a:gd name="connsiteY0" fmla="*/ 5318843 h 6159500"/>
              <a:gd name="connsiteX1" fmla="*/ 514305 w 2800350"/>
              <a:gd name="connsiteY1" fmla="*/ 5426634 h 6159500"/>
              <a:gd name="connsiteX2" fmla="*/ 397494 w 2800350"/>
              <a:gd name="connsiteY2" fmla="*/ 5507905 h 6159500"/>
              <a:gd name="connsiteX3" fmla="*/ 737815 w 2800350"/>
              <a:gd name="connsiteY3" fmla="*/ 6158074 h 6159500"/>
              <a:gd name="connsiteX4" fmla="*/ 694643 w 2800350"/>
              <a:gd name="connsiteY4" fmla="*/ 6158074 h 6159500"/>
              <a:gd name="connsiteX5" fmla="*/ 374677 w 2800350"/>
              <a:gd name="connsiteY5" fmla="*/ 5538417 h 6159500"/>
              <a:gd name="connsiteX6" fmla="*/ 298445 w 2800350"/>
              <a:gd name="connsiteY6" fmla="*/ 5712366 h 6159500"/>
              <a:gd name="connsiteX7" fmla="*/ 294685 w 2800350"/>
              <a:gd name="connsiteY7" fmla="*/ 5318843 h 6159500"/>
              <a:gd name="connsiteX8" fmla="*/ 623597 w 2800350"/>
              <a:gd name="connsiteY8" fmla="*/ 4603656 h 6159500"/>
              <a:gd name="connsiteX9" fmla="*/ 842050 w 2800350"/>
              <a:gd name="connsiteY9" fmla="*/ 4710307 h 6159500"/>
              <a:gd name="connsiteX10" fmla="*/ 725109 w 2800350"/>
              <a:gd name="connsiteY10" fmla="*/ 4786730 h 6159500"/>
              <a:gd name="connsiteX11" fmla="*/ 1621740 w 2800350"/>
              <a:gd name="connsiteY11" fmla="*/ 6158360 h 6159500"/>
              <a:gd name="connsiteX12" fmla="*/ 1565863 w 2800350"/>
              <a:gd name="connsiteY12" fmla="*/ 6158360 h 6159500"/>
              <a:gd name="connsiteX13" fmla="*/ 702292 w 2800350"/>
              <a:gd name="connsiteY13" fmla="*/ 4815817 h 6159500"/>
              <a:gd name="connsiteX14" fmla="*/ 624893 w 2800350"/>
              <a:gd name="connsiteY14" fmla="*/ 4982066 h 6159500"/>
              <a:gd name="connsiteX15" fmla="*/ 623597 w 2800350"/>
              <a:gd name="connsiteY15" fmla="*/ 4603656 h 6159500"/>
              <a:gd name="connsiteX16" fmla="*/ 59637 w 2800350"/>
              <a:gd name="connsiteY16" fmla="*/ 3568803 h 6159500"/>
              <a:gd name="connsiteX17" fmla="*/ 217157 w 2800350"/>
              <a:gd name="connsiteY17" fmla="*/ 3722220 h 6159500"/>
              <a:gd name="connsiteX18" fmla="*/ 110458 w 2800350"/>
              <a:gd name="connsiteY18" fmla="*/ 3761858 h 6159500"/>
              <a:gd name="connsiteX19" fmla="*/ 110096 w 2800350"/>
              <a:gd name="connsiteY19" fmla="*/ 3760182 h 6159500"/>
              <a:gd name="connsiteX20" fmla="*/ 109423 w 2800350"/>
              <a:gd name="connsiteY20" fmla="*/ 3762253 h 6159500"/>
              <a:gd name="connsiteX21" fmla="*/ 110458 w 2800350"/>
              <a:gd name="connsiteY21" fmla="*/ 3761858 h 6159500"/>
              <a:gd name="connsiteX22" fmla="*/ 1142958 w 2800350"/>
              <a:gd name="connsiteY22" fmla="*/ 6145527 h 6159500"/>
              <a:gd name="connsiteX23" fmla="*/ 1153200 w 2800350"/>
              <a:gd name="connsiteY23" fmla="*/ 6159500 h 6159500"/>
              <a:gd name="connsiteX24" fmla="*/ 1104842 w 2800350"/>
              <a:gd name="connsiteY24" fmla="*/ 6159500 h 6159500"/>
              <a:gd name="connsiteX25" fmla="*/ 87641 w 2800350"/>
              <a:gd name="connsiteY25" fmla="*/ 3782104 h 6159500"/>
              <a:gd name="connsiteX26" fmla="*/ 88874 w 2800350"/>
              <a:gd name="connsiteY26" fmla="*/ 3780226 h 6159500"/>
              <a:gd name="connsiteX27" fmla="*/ 88107 w 2800350"/>
              <a:gd name="connsiteY27" fmla="*/ 3780631 h 6159500"/>
              <a:gd name="connsiteX28" fmla="*/ 87221 w 2800350"/>
              <a:gd name="connsiteY28" fmla="*/ 3780163 h 6159500"/>
              <a:gd name="connsiteX29" fmla="*/ 87641 w 2800350"/>
              <a:gd name="connsiteY29" fmla="*/ 3782104 h 6159500"/>
              <a:gd name="connsiteX30" fmla="*/ 0 w 2800350"/>
              <a:gd name="connsiteY30" fmla="*/ 3912994 h 6159500"/>
              <a:gd name="connsiteX31" fmla="*/ 59637 w 2800350"/>
              <a:gd name="connsiteY31" fmla="*/ 3568803 h 6159500"/>
              <a:gd name="connsiteX32" fmla="*/ 346673 w 2800350"/>
              <a:gd name="connsiteY32" fmla="*/ 2057444 h 6159500"/>
              <a:gd name="connsiteX33" fmla="*/ 462317 w 2800350"/>
              <a:gd name="connsiteY33" fmla="*/ 2235100 h 6159500"/>
              <a:gd name="connsiteX34" fmla="*/ 365731 w 2800350"/>
              <a:gd name="connsiteY34" fmla="*/ 2247932 h 6159500"/>
              <a:gd name="connsiteX35" fmla="*/ 909336 w 2800350"/>
              <a:gd name="connsiteY35" fmla="*/ 4479326 h 6159500"/>
              <a:gd name="connsiteX36" fmla="*/ 2179346 w 2800350"/>
              <a:gd name="connsiteY36" fmla="*/ 6158360 h 6159500"/>
              <a:gd name="connsiteX37" fmla="*/ 2112060 w 2800350"/>
              <a:gd name="connsiteY37" fmla="*/ 6158360 h 6159500"/>
              <a:gd name="connsiteX38" fmla="*/ 886518 w 2800350"/>
              <a:gd name="connsiteY38" fmla="*/ 4507271 h 6159500"/>
              <a:gd name="connsiteX39" fmla="*/ 342913 w 2800350"/>
              <a:gd name="connsiteY39" fmla="*/ 2260480 h 6159500"/>
              <a:gd name="connsiteX40" fmla="*/ 250217 w 2800350"/>
              <a:gd name="connsiteY40" fmla="*/ 2360857 h 6159500"/>
              <a:gd name="connsiteX41" fmla="*/ 346673 w 2800350"/>
              <a:gd name="connsiteY41" fmla="*/ 2057444 h 6159500"/>
              <a:gd name="connsiteX42" fmla="*/ 748057 w 2800350"/>
              <a:gd name="connsiteY42" fmla="*/ 1527898 h 6159500"/>
              <a:gd name="connsiteX43" fmla="*/ 858515 w 2800350"/>
              <a:gd name="connsiteY43" fmla="*/ 1710687 h 6159500"/>
              <a:gd name="connsiteX44" fmla="*/ 762058 w 2800350"/>
              <a:gd name="connsiteY44" fmla="*/ 1716961 h 6159500"/>
              <a:gd name="connsiteX45" fmla="*/ 1249656 w 2800350"/>
              <a:gd name="connsiteY45" fmla="*/ 3817749 h 6159500"/>
              <a:gd name="connsiteX46" fmla="*/ 2800350 w 2800350"/>
              <a:gd name="connsiteY46" fmla="*/ 5591743 h 6159500"/>
              <a:gd name="connsiteX47" fmla="*/ 2800350 w 2800350"/>
              <a:gd name="connsiteY47" fmla="*/ 5646494 h 6159500"/>
              <a:gd name="connsiteX48" fmla="*/ 1226839 w 2800350"/>
              <a:gd name="connsiteY48" fmla="*/ 3845695 h 6159500"/>
              <a:gd name="connsiteX49" fmla="*/ 740408 w 2800350"/>
              <a:gd name="connsiteY49" fmla="*/ 1729793 h 6159500"/>
              <a:gd name="connsiteX50" fmla="*/ 643951 w 2800350"/>
              <a:gd name="connsiteY50" fmla="*/ 1823611 h 6159500"/>
              <a:gd name="connsiteX51" fmla="*/ 748057 w 2800350"/>
              <a:gd name="connsiteY51" fmla="*/ 1527898 h 6159500"/>
              <a:gd name="connsiteX52" fmla="*/ 970270 w 2800350"/>
              <a:gd name="connsiteY52" fmla="*/ 981813 h 6159500"/>
              <a:gd name="connsiteX53" fmla="*/ 1062966 w 2800350"/>
              <a:gd name="connsiteY53" fmla="*/ 1174868 h 6159500"/>
              <a:gd name="connsiteX54" fmla="*/ 970270 w 2800350"/>
              <a:gd name="connsiteY54" fmla="*/ 1170876 h 6159500"/>
              <a:gd name="connsiteX55" fmla="*/ 1361411 w 2800350"/>
              <a:gd name="connsiteY55" fmla="*/ 3378315 h 6159500"/>
              <a:gd name="connsiteX56" fmla="*/ 2799054 w 2800350"/>
              <a:gd name="connsiteY56" fmla="*/ 5102975 h 6159500"/>
              <a:gd name="connsiteX57" fmla="*/ 2799054 w 2800350"/>
              <a:gd name="connsiteY57" fmla="*/ 5156300 h 6159500"/>
              <a:gd name="connsiteX58" fmla="*/ 1338593 w 2800350"/>
              <a:gd name="connsiteY58" fmla="*/ 3403694 h 6159500"/>
              <a:gd name="connsiteX59" fmla="*/ 948748 w 2800350"/>
              <a:gd name="connsiteY59" fmla="*/ 1179715 h 6159500"/>
              <a:gd name="connsiteX60" fmla="*/ 852162 w 2800350"/>
              <a:gd name="connsiteY60" fmla="*/ 1262413 h 6159500"/>
              <a:gd name="connsiteX61" fmla="*/ 970270 w 2800350"/>
              <a:gd name="connsiteY61" fmla="*/ 981813 h 6159500"/>
              <a:gd name="connsiteX62" fmla="*/ 1591273 w 2800350"/>
              <a:gd name="connsiteY62" fmla="*/ 651595 h 6159500"/>
              <a:gd name="connsiteX63" fmla="*/ 1691619 w 2800350"/>
              <a:gd name="connsiteY63" fmla="*/ 848357 h 6159500"/>
              <a:gd name="connsiteX64" fmla="*/ 1593866 w 2800350"/>
              <a:gd name="connsiteY64" fmla="*/ 843224 h 6159500"/>
              <a:gd name="connsiteX65" fmla="*/ 1934186 w 2800350"/>
              <a:gd name="connsiteY65" fmla="*/ 2565318 h 6159500"/>
              <a:gd name="connsiteX66" fmla="*/ 2800350 w 2800350"/>
              <a:gd name="connsiteY66" fmla="*/ 3689427 h 6159500"/>
              <a:gd name="connsiteX67" fmla="*/ 2800350 w 2800350"/>
              <a:gd name="connsiteY67" fmla="*/ 3740185 h 6159500"/>
              <a:gd name="connsiteX68" fmla="*/ 1911369 w 2800350"/>
              <a:gd name="connsiteY68" fmla="*/ 2589557 h 6159500"/>
              <a:gd name="connsiteX69" fmla="*/ 1571048 w 2800350"/>
              <a:gd name="connsiteY69" fmla="*/ 852064 h 6159500"/>
              <a:gd name="connsiteX70" fmla="*/ 1470703 w 2800350"/>
              <a:gd name="connsiteY70" fmla="*/ 934761 h 6159500"/>
              <a:gd name="connsiteX71" fmla="*/ 1591273 w 2800350"/>
              <a:gd name="connsiteY71" fmla="*/ 651595 h 6159500"/>
              <a:gd name="connsiteX72" fmla="*/ 664176 w 2800350"/>
              <a:gd name="connsiteY72" fmla="*/ 560058 h 6159500"/>
              <a:gd name="connsiteX73" fmla="*/ 723943 w 2800350"/>
              <a:gd name="connsiteY73" fmla="*/ 760812 h 6159500"/>
              <a:gd name="connsiteX74" fmla="*/ 643951 w 2800350"/>
              <a:gd name="connsiteY74" fmla="*/ 744273 h 6159500"/>
              <a:gd name="connsiteX75" fmla="*/ 722646 w 2800350"/>
              <a:gd name="connsiteY75" fmla="*/ 3145908 h 6159500"/>
              <a:gd name="connsiteX76" fmla="*/ 2004065 w 2800350"/>
              <a:gd name="connsiteY76" fmla="*/ 5462279 h 6159500"/>
              <a:gd name="connsiteX77" fmla="*/ 2800350 w 2800350"/>
              <a:gd name="connsiteY77" fmla="*/ 6097335 h 6159500"/>
              <a:gd name="connsiteX78" fmla="*/ 2800350 w 2800350"/>
              <a:gd name="connsiteY78" fmla="*/ 6153227 h 6159500"/>
              <a:gd name="connsiteX79" fmla="*/ 1983711 w 2800350"/>
              <a:gd name="connsiteY79" fmla="*/ 5501631 h 6159500"/>
              <a:gd name="connsiteX80" fmla="*/ 698532 w 2800350"/>
              <a:gd name="connsiteY80" fmla="*/ 3166154 h 6159500"/>
              <a:gd name="connsiteX81" fmla="*/ 623597 w 2800350"/>
              <a:gd name="connsiteY81" fmla="*/ 750547 h 6159500"/>
              <a:gd name="connsiteX82" fmla="*/ 529603 w 2800350"/>
              <a:gd name="connsiteY82" fmla="*/ 817845 h 6159500"/>
              <a:gd name="connsiteX83" fmla="*/ 664176 w 2800350"/>
              <a:gd name="connsiteY83" fmla="*/ 560058 h 6159500"/>
              <a:gd name="connsiteX84" fmla="*/ 1280123 w 2800350"/>
              <a:gd name="connsiteY84" fmla="*/ 142296 h 6159500"/>
              <a:gd name="connsiteX85" fmla="*/ 1338593 w 2800350"/>
              <a:gd name="connsiteY85" fmla="*/ 351890 h 6159500"/>
              <a:gd name="connsiteX86" fmla="*/ 1256009 w 2800350"/>
              <a:gd name="connsiteY86" fmla="*/ 330218 h 6159500"/>
              <a:gd name="connsiteX87" fmla="*/ 1276363 w 2800350"/>
              <a:gd name="connsiteY87" fmla="*/ 2270745 h 6159500"/>
              <a:gd name="connsiteX88" fmla="*/ 2208517 w 2800350"/>
              <a:gd name="connsiteY88" fmla="*/ 4107189 h 6159500"/>
              <a:gd name="connsiteX89" fmla="*/ 2800350 w 2800350"/>
              <a:gd name="connsiteY89" fmla="*/ 4625328 h 6159500"/>
              <a:gd name="connsiteX90" fmla="*/ 2800350 w 2800350"/>
              <a:gd name="connsiteY90" fmla="*/ 4677513 h 6159500"/>
              <a:gd name="connsiteX91" fmla="*/ 2188162 w 2800350"/>
              <a:gd name="connsiteY91" fmla="*/ 4141408 h 6159500"/>
              <a:gd name="connsiteX92" fmla="*/ 1253546 w 2800350"/>
              <a:gd name="connsiteY92" fmla="*/ 2288426 h 6159500"/>
              <a:gd name="connsiteX93" fmla="*/ 1234488 w 2800350"/>
              <a:gd name="connsiteY93" fmla="*/ 333925 h 6159500"/>
              <a:gd name="connsiteX94" fmla="*/ 1136605 w 2800350"/>
              <a:gd name="connsiteY94" fmla="*/ 396375 h 6159500"/>
              <a:gd name="connsiteX95" fmla="*/ 1280123 w 2800350"/>
              <a:gd name="connsiteY95" fmla="*/ 142296 h 6159500"/>
              <a:gd name="connsiteX96" fmla="*/ 1485871 w 2800350"/>
              <a:gd name="connsiteY96" fmla="*/ 57033 h 6159500"/>
              <a:gd name="connsiteX97" fmla="*/ 1544341 w 2800350"/>
              <a:gd name="connsiteY97" fmla="*/ 269193 h 6159500"/>
              <a:gd name="connsiteX98" fmla="*/ 1460460 w 2800350"/>
              <a:gd name="connsiteY98" fmla="*/ 246380 h 6159500"/>
              <a:gd name="connsiteX99" fmla="*/ 1470703 w 2800350"/>
              <a:gd name="connsiteY99" fmla="*/ 1993853 h 6159500"/>
              <a:gd name="connsiteX100" fmla="*/ 2263098 w 2800350"/>
              <a:gd name="connsiteY100" fmla="*/ 3652641 h 6159500"/>
              <a:gd name="connsiteX101" fmla="*/ 2800350 w 2800350"/>
              <a:gd name="connsiteY101" fmla="*/ 4155381 h 6159500"/>
              <a:gd name="connsiteX102" fmla="*/ 2800350 w 2800350"/>
              <a:gd name="connsiteY102" fmla="*/ 4206140 h 6159500"/>
              <a:gd name="connsiteX103" fmla="*/ 2241576 w 2800350"/>
              <a:gd name="connsiteY103" fmla="*/ 3684294 h 6159500"/>
              <a:gd name="connsiteX104" fmla="*/ 1445292 w 2800350"/>
              <a:gd name="connsiteY104" fmla="*/ 2012959 h 6159500"/>
              <a:gd name="connsiteX105" fmla="*/ 1438939 w 2800350"/>
              <a:gd name="connsiteY105" fmla="*/ 250087 h 6159500"/>
              <a:gd name="connsiteX106" fmla="*/ 1339890 w 2800350"/>
              <a:gd name="connsiteY106" fmla="*/ 311112 h 6159500"/>
              <a:gd name="connsiteX107" fmla="*/ 1485871 w 2800350"/>
              <a:gd name="connsiteY107" fmla="*/ 57033 h 6159500"/>
              <a:gd name="connsiteX108" fmla="*/ 1875846 w 2800350"/>
              <a:gd name="connsiteY108" fmla="*/ 0 h 6159500"/>
              <a:gd name="connsiteX109" fmla="*/ 1945595 w 2800350"/>
              <a:gd name="connsiteY109" fmla="*/ 213301 h 6159500"/>
              <a:gd name="connsiteX110" fmla="*/ 1855491 w 2800350"/>
              <a:gd name="connsiteY110" fmla="*/ 191629 h 6159500"/>
              <a:gd name="connsiteX111" fmla="*/ 2037125 w 2800350"/>
              <a:gd name="connsiteY111" fmla="*/ 2096797 h 6159500"/>
              <a:gd name="connsiteX112" fmla="*/ 2800350 w 2800350"/>
              <a:gd name="connsiteY112" fmla="*/ 3218054 h 6159500"/>
              <a:gd name="connsiteX113" fmla="*/ 2800350 w 2800350"/>
              <a:gd name="connsiteY113" fmla="*/ 3270238 h 6159500"/>
              <a:gd name="connsiteX114" fmla="*/ 2013011 w 2800350"/>
              <a:gd name="connsiteY114" fmla="*/ 2118469 h 6159500"/>
              <a:gd name="connsiteX115" fmla="*/ 1833841 w 2800350"/>
              <a:gd name="connsiteY115" fmla="*/ 196762 h 6159500"/>
              <a:gd name="connsiteX116" fmla="*/ 1731031 w 2800350"/>
              <a:gd name="connsiteY116" fmla="*/ 261494 h 6159500"/>
              <a:gd name="connsiteX117" fmla="*/ 1875846 w 2800350"/>
              <a:gd name="connsiteY117" fmla="*/ 0 h 6159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2800350" h="6159500">
                <a:moveTo>
                  <a:pt x="294685" y="5318843"/>
                </a:moveTo>
                <a:cubicBezTo>
                  <a:pt x="354322" y="5369601"/>
                  <a:pt x="441963" y="5419220"/>
                  <a:pt x="514305" y="5426634"/>
                </a:cubicBezTo>
                <a:cubicBezTo>
                  <a:pt x="475023" y="5453439"/>
                  <a:pt x="435610" y="5481385"/>
                  <a:pt x="397494" y="5507905"/>
                </a:cubicBezTo>
                <a:cubicBezTo>
                  <a:pt x="499137" y="5730331"/>
                  <a:pt x="612188" y="5947340"/>
                  <a:pt x="737815" y="6158074"/>
                </a:cubicBezTo>
                <a:lnTo>
                  <a:pt x="694643" y="6158074"/>
                </a:lnTo>
                <a:cubicBezTo>
                  <a:pt x="576535" y="5957606"/>
                  <a:pt x="469837" y="5750578"/>
                  <a:pt x="374677" y="5538417"/>
                </a:cubicBezTo>
                <a:cubicBezTo>
                  <a:pt x="350563" y="5595735"/>
                  <a:pt x="323856" y="5653908"/>
                  <a:pt x="298445" y="5712366"/>
                </a:cubicBezTo>
                <a:cubicBezTo>
                  <a:pt x="312447" y="5590602"/>
                  <a:pt x="307391" y="5431767"/>
                  <a:pt x="294685" y="5318843"/>
                </a:cubicBezTo>
                <a:close/>
                <a:moveTo>
                  <a:pt x="623597" y="4603656"/>
                </a:moveTo>
                <a:cubicBezTo>
                  <a:pt x="683234" y="4653274"/>
                  <a:pt x="769578" y="4701467"/>
                  <a:pt x="842050" y="4710307"/>
                </a:cubicBezTo>
                <a:cubicBezTo>
                  <a:pt x="802638" y="4735686"/>
                  <a:pt x="764522" y="4761351"/>
                  <a:pt x="725109" y="4786730"/>
                </a:cubicBezTo>
                <a:cubicBezTo>
                  <a:pt x="953805" y="5282057"/>
                  <a:pt x="1254713" y="5746871"/>
                  <a:pt x="1621740" y="6158360"/>
                </a:cubicBezTo>
                <a:lnTo>
                  <a:pt x="1565863" y="6158360"/>
                </a:lnTo>
                <a:cubicBezTo>
                  <a:pt x="1214133" y="5754285"/>
                  <a:pt x="923338" y="5298311"/>
                  <a:pt x="702292" y="4815817"/>
                </a:cubicBezTo>
                <a:cubicBezTo>
                  <a:pt x="676881" y="4871708"/>
                  <a:pt x="650304" y="4926460"/>
                  <a:pt x="624893" y="4982066"/>
                </a:cubicBezTo>
                <a:cubicBezTo>
                  <a:pt x="640062" y="4864009"/>
                  <a:pt x="636302" y="4712873"/>
                  <a:pt x="623597" y="4603656"/>
                </a:cubicBezTo>
                <a:close/>
                <a:moveTo>
                  <a:pt x="59637" y="3568803"/>
                </a:moveTo>
                <a:cubicBezTo>
                  <a:pt x="99050" y="3629543"/>
                  <a:pt x="159983" y="3695700"/>
                  <a:pt x="217157" y="3722220"/>
                </a:cubicBezTo>
                <a:cubicBezTo>
                  <a:pt x="181634" y="3735052"/>
                  <a:pt x="146111" y="3749025"/>
                  <a:pt x="110458" y="3761858"/>
                </a:cubicBezTo>
                <a:lnTo>
                  <a:pt x="110096" y="3760182"/>
                </a:lnTo>
                <a:lnTo>
                  <a:pt x="109423" y="3762253"/>
                </a:lnTo>
                <a:lnTo>
                  <a:pt x="110458" y="3761858"/>
                </a:lnTo>
                <a:cubicBezTo>
                  <a:pt x="284443" y="4615063"/>
                  <a:pt x="631246" y="5431767"/>
                  <a:pt x="1142958" y="6145527"/>
                </a:cubicBezTo>
                <a:cubicBezTo>
                  <a:pt x="1146847" y="6150660"/>
                  <a:pt x="1149310" y="6154367"/>
                  <a:pt x="1153200" y="6159500"/>
                </a:cubicBezTo>
                <a:lnTo>
                  <a:pt x="1104842" y="6159500"/>
                </a:lnTo>
                <a:cubicBezTo>
                  <a:pt x="601946" y="5447165"/>
                  <a:pt x="259033" y="4631602"/>
                  <a:pt x="87641" y="3782104"/>
                </a:cubicBezTo>
                <a:lnTo>
                  <a:pt x="88874" y="3780226"/>
                </a:lnTo>
                <a:lnTo>
                  <a:pt x="88107" y="3780631"/>
                </a:lnTo>
                <a:lnTo>
                  <a:pt x="87221" y="3780163"/>
                </a:lnTo>
                <a:lnTo>
                  <a:pt x="87641" y="3782104"/>
                </a:lnTo>
                <a:cubicBezTo>
                  <a:pt x="58471" y="3826589"/>
                  <a:pt x="29171" y="3869649"/>
                  <a:pt x="0" y="3912994"/>
                </a:cubicBezTo>
                <a:cubicBezTo>
                  <a:pt x="31763" y="3810050"/>
                  <a:pt x="52118" y="3671461"/>
                  <a:pt x="59637" y="3568803"/>
                </a:cubicBezTo>
                <a:close/>
                <a:moveTo>
                  <a:pt x="346673" y="2057444"/>
                </a:moveTo>
                <a:cubicBezTo>
                  <a:pt x="373380" y="2122176"/>
                  <a:pt x="416552" y="2198314"/>
                  <a:pt x="462317" y="2235100"/>
                </a:cubicBezTo>
                <a:cubicBezTo>
                  <a:pt x="429258" y="2239092"/>
                  <a:pt x="397494" y="2244226"/>
                  <a:pt x="365731" y="2247932"/>
                </a:cubicBezTo>
                <a:cubicBezTo>
                  <a:pt x="398791" y="3009885"/>
                  <a:pt x="577832" y="3780678"/>
                  <a:pt x="909336" y="4479326"/>
                </a:cubicBezTo>
                <a:cubicBezTo>
                  <a:pt x="1212837" y="5120655"/>
                  <a:pt x="1643391" y="5698393"/>
                  <a:pt x="2179346" y="6158360"/>
                </a:cubicBezTo>
                <a:lnTo>
                  <a:pt x="2112060" y="6158360"/>
                </a:lnTo>
                <a:cubicBezTo>
                  <a:pt x="1596329" y="5700960"/>
                  <a:pt x="1181074" y="5132061"/>
                  <a:pt x="886518" y="4507271"/>
                </a:cubicBezTo>
                <a:cubicBezTo>
                  <a:pt x="555014" y="3803777"/>
                  <a:pt x="374677" y="3027565"/>
                  <a:pt x="342913" y="2260480"/>
                </a:cubicBezTo>
                <a:cubicBezTo>
                  <a:pt x="312447" y="2293559"/>
                  <a:pt x="280683" y="2327778"/>
                  <a:pt x="250217" y="2360857"/>
                </a:cubicBezTo>
                <a:cubicBezTo>
                  <a:pt x="290796" y="2274453"/>
                  <a:pt x="326448" y="2150122"/>
                  <a:pt x="346673" y="2057444"/>
                </a:cubicBezTo>
                <a:close/>
                <a:moveTo>
                  <a:pt x="748057" y="1527898"/>
                </a:moveTo>
                <a:cubicBezTo>
                  <a:pt x="772171" y="1593771"/>
                  <a:pt x="814046" y="1671335"/>
                  <a:pt x="858515" y="1710687"/>
                </a:cubicBezTo>
                <a:cubicBezTo>
                  <a:pt x="826752" y="1713254"/>
                  <a:pt x="793692" y="1715820"/>
                  <a:pt x="762058" y="1716961"/>
                </a:cubicBezTo>
                <a:cubicBezTo>
                  <a:pt x="774634" y="2450968"/>
                  <a:pt x="939803" y="3172428"/>
                  <a:pt x="1249656" y="3817749"/>
                </a:cubicBezTo>
                <a:cubicBezTo>
                  <a:pt x="1592570" y="4531225"/>
                  <a:pt x="2115820" y="5158867"/>
                  <a:pt x="2800350" y="5591743"/>
                </a:cubicBezTo>
                <a:lnTo>
                  <a:pt x="2800350" y="5646494"/>
                </a:lnTo>
                <a:cubicBezTo>
                  <a:pt x="2103115" y="5208200"/>
                  <a:pt x="1572215" y="4570863"/>
                  <a:pt x="1226839" y="3845695"/>
                </a:cubicBezTo>
                <a:cubicBezTo>
                  <a:pt x="916985" y="3195241"/>
                  <a:pt x="751816" y="2468933"/>
                  <a:pt x="740408" y="1729793"/>
                </a:cubicBezTo>
                <a:cubicBezTo>
                  <a:pt x="707348" y="1761446"/>
                  <a:pt x="675585" y="1793099"/>
                  <a:pt x="643951" y="1823611"/>
                </a:cubicBezTo>
                <a:cubicBezTo>
                  <a:pt x="685827" y="1739774"/>
                  <a:pt x="725109" y="1619150"/>
                  <a:pt x="748057" y="1527898"/>
                </a:cubicBezTo>
                <a:close/>
                <a:moveTo>
                  <a:pt x="970270" y="981813"/>
                </a:moveTo>
                <a:cubicBezTo>
                  <a:pt x="989328" y="1050252"/>
                  <a:pt x="1023554" y="1131523"/>
                  <a:pt x="1062966" y="1174868"/>
                </a:cubicBezTo>
                <a:cubicBezTo>
                  <a:pt x="1031203" y="1173442"/>
                  <a:pt x="1000736" y="1172301"/>
                  <a:pt x="970270" y="1170876"/>
                </a:cubicBezTo>
                <a:cubicBezTo>
                  <a:pt x="933450" y="1935395"/>
                  <a:pt x="1059207" y="2696207"/>
                  <a:pt x="1361411" y="3378315"/>
                </a:cubicBezTo>
                <a:cubicBezTo>
                  <a:pt x="1670098" y="4076677"/>
                  <a:pt x="2157696" y="4678654"/>
                  <a:pt x="2799054" y="5102975"/>
                </a:cubicBezTo>
                <a:lnTo>
                  <a:pt x="2799054" y="5156300"/>
                </a:lnTo>
                <a:cubicBezTo>
                  <a:pt x="2146287" y="4725706"/>
                  <a:pt x="1651040" y="4114888"/>
                  <a:pt x="1338593" y="3403694"/>
                </a:cubicBezTo>
                <a:cubicBezTo>
                  <a:pt x="1036259" y="2716454"/>
                  <a:pt x="910633" y="1949368"/>
                  <a:pt x="948748" y="1179715"/>
                </a:cubicBezTo>
                <a:cubicBezTo>
                  <a:pt x="916985" y="1207661"/>
                  <a:pt x="883926" y="1234467"/>
                  <a:pt x="852162" y="1262413"/>
                </a:cubicBezTo>
                <a:cubicBezTo>
                  <a:pt x="897927" y="1184848"/>
                  <a:pt x="942396" y="1069358"/>
                  <a:pt x="970270" y="981813"/>
                </a:cubicBezTo>
                <a:close/>
                <a:moveTo>
                  <a:pt x="1591273" y="651595"/>
                </a:moveTo>
                <a:cubicBezTo>
                  <a:pt x="1611628" y="721460"/>
                  <a:pt x="1649743" y="803872"/>
                  <a:pt x="1691619" y="848357"/>
                </a:cubicBezTo>
                <a:cubicBezTo>
                  <a:pt x="1658559" y="845791"/>
                  <a:pt x="1625629" y="844650"/>
                  <a:pt x="1593866" y="843224"/>
                </a:cubicBezTo>
                <a:cubicBezTo>
                  <a:pt x="1572215" y="1449194"/>
                  <a:pt x="1690323" y="2042046"/>
                  <a:pt x="1934186" y="2565318"/>
                </a:cubicBezTo>
                <a:cubicBezTo>
                  <a:pt x="2137471" y="2999620"/>
                  <a:pt x="2429563" y="3388295"/>
                  <a:pt x="2800350" y="3689427"/>
                </a:cubicBezTo>
                <a:lnTo>
                  <a:pt x="2800350" y="3740185"/>
                </a:lnTo>
                <a:cubicBezTo>
                  <a:pt x="2418024" y="3434207"/>
                  <a:pt x="2118413" y="3035265"/>
                  <a:pt x="1911369" y="2589557"/>
                </a:cubicBezTo>
                <a:cubicBezTo>
                  <a:pt x="1667505" y="2062577"/>
                  <a:pt x="1549398" y="1463167"/>
                  <a:pt x="1571048" y="852064"/>
                </a:cubicBezTo>
                <a:cubicBezTo>
                  <a:pt x="1536692" y="880010"/>
                  <a:pt x="1503633" y="906815"/>
                  <a:pt x="1470703" y="934761"/>
                </a:cubicBezTo>
                <a:cubicBezTo>
                  <a:pt x="1517634" y="856057"/>
                  <a:pt x="1563399" y="740281"/>
                  <a:pt x="1591273" y="651595"/>
                </a:cubicBezTo>
                <a:close/>
                <a:moveTo>
                  <a:pt x="664176" y="560058"/>
                </a:moveTo>
                <a:cubicBezTo>
                  <a:pt x="673121" y="628497"/>
                  <a:pt x="694643" y="712335"/>
                  <a:pt x="723943" y="760812"/>
                </a:cubicBezTo>
                <a:cubicBezTo>
                  <a:pt x="697236" y="755680"/>
                  <a:pt x="670528" y="749406"/>
                  <a:pt x="643951" y="744273"/>
                </a:cubicBezTo>
                <a:cubicBezTo>
                  <a:pt x="513138" y="1549286"/>
                  <a:pt x="532196" y="2374830"/>
                  <a:pt x="722646" y="3145908"/>
                </a:cubicBezTo>
                <a:cubicBezTo>
                  <a:pt x="937210" y="4019644"/>
                  <a:pt x="1367764" y="4828649"/>
                  <a:pt x="2004065" y="5462279"/>
                </a:cubicBezTo>
                <a:cubicBezTo>
                  <a:pt x="2240280" y="5702386"/>
                  <a:pt x="2506962" y="5915687"/>
                  <a:pt x="2800350" y="6097335"/>
                </a:cubicBezTo>
                <a:lnTo>
                  <a:pt x="2800350" y="6153227"/>
                </a:lnTo>
                <a:cubicBezTo>
                  <a:pt x="2499312" y="5966446"/>
                  <a:pt x="2226278" y="5748011"/>
                  <a:pt x="1983711" y="5501631"/>
                </a:cubicBezTo>
                <a:cubicBezTo>
                  <a:pt x="1344946" y="4861443"/>
                  <a:pt x="913096" y="4045024"/>
                  <a:pt x="698532" y="3166154"/>
                </a:cubicBezTo>
                <a:cubicBezTo>
                  <a:pt x="507953" y="2390228"/>
                  <a:pt x="490191" y="1558411"/>
                  <a:pt x="623597" y="750547"/>
                </a:cubicBezTo>
                <a:cubicBezTo>
                  <a:pt x="591833" y="773360"/>
                  <a:pt x="560070" y="796173"/>
                  <a:pt x="529603" y="817845"/>
                </a:cubicBezTo>
                <a:cubicBezTo>
                  <a:pt x="577832" y="746840"/>
                  <a:pt x="629949" y="642470"/>
                  <a:pt x="664176" y="560058"/>
                </a:cubicBezTo>
                <a:close/>
                <a:moveTo>
                  <a:pt x="1280123" y="142296"/>
                </a:moveTo>
                <a:cubicBezTo>
                  <a:pt x="1287772" y="214727"/>
                  <a:pt x="1309423" y="301131"/>
                  <a:pt x="1338593" y="351890"/>
                </a:cubicBezTo>
                <a:cubicBezTo>
                  <a:pt x="1310590" y="344191"/>
                  <a:pt x="1284013" y="337917"/>
                  <a:pt x="1256009" y="330218"/>
                </a:cubicBezTo>
                <a:cubicBezTo>
                  <a:pt x="1137902" y="982954"/>
                  <a:pt x="1140495" y="1651088"/>
                  <a:pt x="1276363" y="2270745"/>
                </a:cubicBezTo>
                <a:cubicBezTo>
                  <a:pt x="1426234" y="2957701"/>
                  <a:pt x="1739847" y="3596749"/>
                  <a:pt x="2208517" y="4107189"/>
                </a:cubicBezTo>
                <a:cubicBezTo>
                  <a:pt x="2386391" y="4300244"/>
                  <a:pt x="2584490" y="4474193"/>
                  <a:pt x="2800350" y="4625328"/>
                </a:cubicBezTo>
                <a:lnTo>
                  <a:pt x="2800350" y="4677513"/>
                </a:lnTo>
                <a:cubicBezTo>
                  <a:pt x="2575544" y="4522385"/>
                  <a:pt x="2369796" y="4342163"/>
                  <a:pt x="2188162" y="4141408"/>
                </a:cubicBezTo>
                <a:cubicBezTo>
                  <a:pt x="1718326" y="3625835"/>
                  <a:pt x="1403287" y="2980799"/>
                  <a:pt x="1253546" y="2288426"/>
                </a:cubicBezTo>
                <a:cubicBezTo>
                  <a:pt x="1117547" y="1665061"/>
                  <a:pt x="1116380" y="991794"/>
                  <a:pt x="1234488" y="333925"/>
                </a:cubicBezTo>
                <a:cubicBezTo>
                  <a:pt x="1201428" y="354457"/>
                  <a:pt x="1168368" y="375844"/>
                  <a:pt x="1136605" y="396375"/>
                </a:cubicBezTo>
                <a:cubicBezTo>
                  <a:pt x="1187426" y="327651"/>
                  <a:pt x="1243304" y="223567"/>
                  <a:pt x="1280123" y="142296"/>
                </a:cubicBezTo>
                <a:close/>
                <a:moveTo>
                  <a:pt x="1485871" y="57033"/>
                </a:moveTo>
                <a:cubicBezTo>
                  <a:pt x="1493520" y="129464"/>
                  <a:pt x="1513875" y="217294"/>
                  <a:pt x="1544341" y="269193"/>
                </a:cubicBezTo>
                <a:cubicBezTo>
                  <a:pt x="1516338" y="261494"/>
                  <a:pt x="1488464" y="254079"/>
                  <a:pt x="1460460" y="246380"/>
                </a:cubicBezTo>
                <a:cubicBezTo>
                  <a:pt x="1351299" y="834384"/>
                  <a:pt x="1355058" y="1433795"/>
                  <a:pt x="1470703" y="1993853"/>
                </a:cubicBezTo>
                <a:cubicBezTo>
                  <a:pt x="1596329" y="2608663"/>
                  <a:pt x="1860548" y="3187827"/>
                  <a:pt x="2263098" y="3652641"/>
                </a:cubicBezTo>
                <a:cubicBezTo>
                  <a:pt x="2421914" y="3839137"/>
                  <a:pt x="2602251" y="4008238"/>
                  <a:pt x="2800350" y="4155381"/>
                </a:cubicBezTo>
                <a:lnTo>
                  <a:pt x="2800350" y="4206140"/>
                </a:lnTo>
                <a:cubicBezTo>
                  <a:pt x="2593306" y="4053864"/>
                  <a:pt x="2406616" y="3878489"/>
                  <a:pt x="2241576" y="3684294"/>
                </a:cubicBezTo>
                <a:cubicBezTo>
                  <a:pt x="1844083" y="3223187"/>
                  <a:pt x="1574808" y="2641456"/>
                  <a:pt x="1445292" y="2012959"/>
                </a:cubicBezTo>
                <a:cubicBezTo>
                  <a:pt x="1328481" y="1438928"/>
                  <a:pt x="1329648" y="833244"/>
                  <a:pt x="1438939" y="250087"/>
                </a:cubicBezTo>
                <a:cubicBezTo>
                  <a:pt x="1405880" y="270619"/>
                  <a:pt x="1372820" y="290865"/>
                  <a:pt x="1339890" y="311112"/>
                </a:cubicBezTo>
                <a:cubicBezTo>
                  <a:pt x="1391878" y="243814"/>
                  <a:pt x="1449052" y="139729"/>
                  <a:pt x="1485871" y="57033"/>
                </a:cubicBezTo>
                <a:close/>
                <a:moveTo>
                  <a:pt x="1875846" y="0"/>
                </a:moveTo>
                <a:cubicBezTo>
                  <a:pt x="1887255" y="72431"/>
                  <a:pt x="1911369" y="161402"/>
                  <a:pt x="1945595" y="213301"/>
                </a:cubicBezTo>
                <a:cubicBezTo>
                  <a:pt x="1915128" y="205602"/>
                  <a:pt x="1884662" y="199328"/>
                  <a:pt x="1855491" y="191629"/>
                </a:cubicBezTo>
                <a:cubicBezTo>
                  <a:pt x="1753849" y="857197"/>
                  <a:pt x="1809726" y="1512500"/>
                  <a:pt x="2037125" y="2096797"/>
                </a:cubicBezTo>
                <a:cubicBezTo>
                  <a:pt x="2202164" y="2525965"/>
                  <a:pt x="2463790" y="2912075"/>
                  <a:pt x="2800350" y="3218054"/>
                </a:cubicBezTo>
                <a:lnTo>
                  <a:pt x="2800350" y="3270238"/>
                </a:lnTo>
                <a:cubicBezTo>
                  <a:pt x="2451084" y="2957701"/>
                  <a:pt x="2183106" y="2560185"/>
                  <a:pt x="2013011" y="2118469"/>
                </a:cubicBezTo>
                <a:cubicBezTo>
                  <a:pt x="1784316" y="1527898"/>
                  <a:pt x="1729735" y="866037"/>
                  <a:pt x="1833841" y="196762"/>
                </a:cubicBezTo>
                <a:cubicBezTo>
                  <a:pt x="1799614" y="218434"/>
                  <a:pt x="1765258" y="240107"/>
                  <a:pt x="1731031" y="261494"/>
                </a:cubicBezTo>
                <a:cubicBezTo>
                  <a:pt x="1783019" y="190488"/>
                  <a:pt x="1840193" y="83838"/>
                  <a:pt x="1875846" y="0"/>
                </a:cubicBezTo>
                <a:close/>
              </a:path>
            </a:pathLst>
          </a:custGeom>
          <a:gradFill>
            <a:gsLst>
              <a:gs pos="0">
                <a:schemeClr val="accent1"/>
              </a:gs>
              <a:gs pos="100000">
                <a:schemeClr val="bg2">
                  <a:lumMod val="50000"/>
                </a:schemeClr>
              </a:gs>
            </a:gsLst>
            <a:lin ang="5400000" scaled="1"/>
          </a:gradFill>
          <a:ln w="12700">
            <a:miter lim="400000"/>
          </a:ln>
        </p:spPr>
        <p:txBody>
          <a:bodyPr wrap="square" lIns="28575" tIns="28575" rIns="28575" bIns="28575" anchor="ctr">
            <a:noAutofit/>
          </a:bodyPr>
          <a:lstStyle/>
          <a:p>
            <a:pPr>
              <a:defRPr sz="3000">
                <a:solidFill>
                  <a:srgbClr val="FFFFFF"/>
                </a:solidFill>
                <a:effectLst>
                  <a:outerShdw blurRad="38100" dist="12700" dir="5400000" rotWithShape="0">
                    <a:srgbClr val="000000">
                      <a:alpha val="50000"/>
                    </a:srgbClr>
                  </a:outerShdw>
                </a:effectLst>
              </a:defRPr>
            </a:pPr>
            <a:endParaRPr sz="2250"/>
          </a:p>
        </p:txBody>
      </p:sp>
      <p:sp>
        <p:nvSpPr>
          <p:cNvPr id="12" name="Title 1">
            <a:extLst>
              <a:ext uri="{FF2B5EF4-FFF2-40B4-BE49-F238E27FC236}">
                <a16:creationId xmlns:a16="http://schemas.microsoft.com/office/drawing/2014/main" id="{08888851-8419-4D40-B1E3-9D279F24C731}"/>
              </a:ext>
            </a:extLst>
          </p:cNvPr>
          <p:cNvSpPr>
            <a:spLocks noGrp="1"/>
          </p:cNvSpPr>
          <p:nvPr>
            <p:ph type="title"/>
          </p:nvPr>
        </p:nvSpPr>
        <p:spPr>
          <a:xfrm>
            <a:off x="628651" y="273844"/>
            <a:ext cx="6247163" cy="994172"/>
          </a:xfrm>
        </p:spPr>
        <p:txBody>
          <a:bodyPr/>
          <a:lstStyle/>
          <a:p>
            <a:r>
              <a:rPr lang="en-US"/>
              <a:t>Click to edit Master title style</a:t>
            </a:r>
          </a:p>
        </p:txBody>
      </p:sp>
      <p:sp>
        <p:nvSpPr>
          <p:cNvPr id="18" name="Content Placeholder 2">
            <a:extLst>
              <a:ext uri="{FF2B5EF4-FFF2-40B4-BE49-F238E27FC236}">
                <a16:creationId xmlns:a16="http://schemas.microsoft.com/office/drawing/2014/main" id="{9CCD0F33-6122-4DA2-AA9D-CA48CEFB9225}"/>
              </a:ext>
            </a:extLst>
          </p:cNvPr>
          <p:cNvSpPr>
            <a:spLocks noGrp="1"/>
          </p:cNvSpPr>
          <p:nvPr>
            <p:ph idx="1"/>
          </p:nvPr>
        </p:nvSpPr>
        <p:spPr>
          <a:xfrm>
            <a:off x="628651" y="1369219"/>
            <a:ext cx="6247163"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Date Placeholder 3">
            <a:extLst>
              <a:ext uri="{FF2B5EF4-FFF2-40B4-BE49-F238E27FC236}">
                <a16:creationId xmlns:a16="http://schemas.microsoft.com/office/drawing/2014/main" id="{7A8A3FA1-377F-4383-B7E8-14D9409AF64B}"/>
              </a:ext>
            </a:extLst>
          </p:cNvPr>
          <p:cNvSpPr>
            <a:spLocks noGrp="1"/>
          </p:cNvSpPr>
          <p:nvPr>
            <p:ph type="dt" sz="half" idx="10"/>
          </p:nvPr>
        </p:nvSpPr>
        <p:spPr>
          <a:xfrm>
            <a:off x="628650" y="4767263"/>
            <a:ext cx="2057400" cy="273844"/>
          </a:xfrm>
        </p:spPr>
        <p:txBody>
          <a:bodyPr/>
          <a:lstStyle/>
          <a:p>
            <a:r>
              <a:rPr lang="en-US"/>
              <a:t>Date</a:t>
            </a:r>
          </a:p>
        </p:txBody>
      </p:sp>
      <p:sp>
        <p:nvSpPr>
          <p:cNvPr id="20" name="Footer Placeholder 4">
            <a:extLst>
              <a:ext uri="{FF2B5EF4-FFF2-40B4-BE49-F238E27FC236}">
                <a16:creationId xmlns:a16="http://schemas.microsoft.com/office/drawing/2014/main" id="{566F5CF8-699B-4A09-9AD0-718B0175E486}"/>
              </a:ext>
            </a:extLst>
          </p:cNvPr>
          <p:cNvSpPr>
            <a:spLocks noGrp="1"/>
          </p:cNvSpPr>
          <p:nvPr>
            <p:ph type="ftr" sz="quarter" idx="11"/>
          </p:nvPr>
        </p:nvSpPr>
        <p:spPr>
          <a:xfrm>
            <a:off x="3028950" y="4767263"/>
            <a:ext cx="3086100" cy="273844"/>
          </a:xfrm>
        </p:spPr>
        <p:txBody>
          <a:bodyPr/>
          <a:lstStyle/>
          <a:p>
            <a:r>
              <a:rPr lang="en-US"/>
              <a:t>Your Footer Here</a:t>
            </a:r>
          </a:p>
        </p:txBody>
      </p:sp>
      <p:sp>
        <p:nvSpPr>
          <p:cNvPr id="21" name="Slide Number Placeholder 5">
            <a:extLst>
              <a:ext uri="{FF2B5EF4-FFF2-40B4-BE49-F238E27FC236}">
                <a16:creationId xmlns:a16="http://schemas.microsoft.com/office/drawing/2014/main" id="{7C55771C-35B2-4842-A572-EEE14A727DBF}"/>
              </a:ext>
            </a:extLst>
          </p:cNvPr>
          <p:cNvSpPr>
            <a:spLocks noGrp="1"/>
          </p:cNvSpPr>
          <p:nvPr>
            <p:ph type="sldNum" sz="quarter" idx="12"/>
          </p:nvPr>
        </p:nvSpPr>
        <p:spPr>
          <a:xfrm>
            <a:off x="6457950" y="4767263"/>
            <a:ext cx="2057400" cy="273844"/>
          </a:xfrm>
        </p:spPr>
        <p:txBody>
          <a:bodyPr/>
          <a:lstStyle/>
          <a:p>
            <a:fld id="{672B7600-67E3-4D97-B453-880E2742B982}" type="slidenum">
              <a:rPr lang="en-US" smtClean="0"/>
              <a:t>‹#›</a:t>
            </a:fld>
            <a:endParaRPr lang="en-US"/>
          </a:p>
        </p:txBody>
      </p:sp>
    </p:spTree>
    <p:extLst>
      <p:ext uri="{BB962C8B-B14F-4D97-AF65-F5344CB8AC3E}">
        <p14:creationId xmlns:p14="http://schemas.microsoft.com/office/powerpoint/2010/main" val="1728668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tags" Target="../tags/tag191.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10.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image" Target="../media/image16.emf"/><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oleObject" Target="../embeddings/oleObject28.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3" Type="http://schemas.openxmlformats.org/officeDocument/2006/relationships/slideLayout" Target="../slideLayouts/slideLayout184.xml"/><Relationship Id="rId21" Type="http://schemas.openxmlformats.org/officeDocument/2006/relationships/tags" Target="../tags/tag213.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1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image" Target="../media/image17.emf"/><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oleObject" Target="../embeddings/oleObject30.bin"/><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tags" Target="../tags/tag2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3" Type="http://schemas.openxmlformats.org/officeDocument/2006/relationships/slideLayout" Target="../slideLayouts/slideLayout203.xml"/><Relationship Id="rId21" Type="http://schemas.openxmlformats.org/officeDocument/2006/relationships/tags" Target="../tags/tag238.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1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image" Target="../media/image17.emf"/><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oleObject" Target="../embeddings/oleObject33.bin"/><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tags" Target="../tags/tag23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21" Type="http://schemas.openxmlformats.org/officeDocument/2006/relationships/tags" Target="../tags/tag263.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image" Target="../media/image16.emf"/><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oleObject" Target="../embeddings/oleObject36.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3" Type="http://schemas.openxmlformats.org/officeDocument/2006/relationships/slideLayout" Target="../slideLayouts/slideLayout241.xml"/><Relationship Id="rId21" Type="http://schemas.openxmlformats.org/officeDocument/2006/relationships/theme" Target="../theme/theme14.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image" Target="../media/image17.emf"/><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slideLayout" Target="../slideLayouts/slideLayout258.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oleObject" Target="../embeddings/oleObject38.bin"/><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tags" Target="../tags/tag286.xml"/><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ags" Target="../tags/tag28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tags" Target="../tags/tag307.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theme" Target="../theme/theme15.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image" Target="../media/image16.emf"/><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oleObject" Target="../embeddings/oleObject39.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theme" Target="../theme/theme16.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image" Target="../media/image18.emf"/><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oleObject" Target="../embeddings/oleObject41.bin"/><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tags" Target="../tags/tag329.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slideLayout" Target="../slideLayouts/slideLayout315.xml"/><Relationship Id="rId3" Type="http://schemas.openxmlformats.org/officeDocument/2006/relationships/slideLayout" Target="../slideLayouts/slideLayout300.xml"/><Relationship Id="rId21" Type="http://schemas.openxmlformats.org/officeDocument/2006/relationships/tags" Target="../tags/tag351.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slideLayout" Target="../slideLayouts/slideLayout314.xml"/><Relationship Id="rId2" Type="http://schemas.openxmlformats.org/officeDocument/2006/relationships/slideLayout" Target="../slideLayouts/slideLayout299.xml"/><Relationship Id="rId16" Type="http://schemas.openxmlformats.org/officeDocument/2006/relationships/slideLayout" Target="../slideLayouts/slideLayout313.xml"/><Relationship Id="rId20" Type="http://schemas.openxmlformats.org/officeDocument/2006/relationships/tags" Target="../tags/tag350.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5" Type="http://schemas.openxmlformats.org/officeDocument/2006/relationships/slideLayout" Target="../slideLayouts/slideLayout312.xml"/><Relationship Id="rId23" Type="http://schemas.openxmlformats.org/officeDocument/2006/relationships/image" Target="../media/image12.emf"/><Relationship Id="rId10" Type="http://schemas.openxmlformats.org/officeDocument/2006/relationships/slideLayout" Target="../slideLayouts/slideLayout307.xml"/><Relationship Id="rId19" Type="http://schemas.openxmlformats.org/officeDocument/2006/relationships/theme" Target="../theme/theme17.xml"/><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slideLayout" Target="../slideLayouts/slideLayout311.xml"/><Relationship Id="rId22" Type="http://schemas.openxmlformats.org/officeDocument/2006/relationships/oleObject" Target="../embeddings/oleObject42.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23.xml"/><Relationship Id="rId13" Type="http://schemas.openxmlformats.org/officeDocument/2006/relationships/slideLayout" Target="../slideLayouts/slideLayout328.xml"/><Relationship Id="rId18" Type="http://schemas.openxmlformats.org/officeDocument/2006/relationships/slideLayout" Target="../slideLayouts/slideLayout333.xml"/><Relationship Id="rId3" Type="http://schemas.openxmlformats.org/officeDocument/2006/relationships/slideLayout" Target="../slideLayouts/slideLayout318.xml"/><Relationship Id="rId21" Type="http://schemas.openxmlformats.org/officeDocument/2006/relationships/tags" Target="../tags/tag387.xml"/><Relationship Id="rId7" Type="http://schemas.openxmlformats.org/officeDocument/2006/relationships/slideLayout" Target="../slideLayouts/slideLayout322.xml"/><Relationship Id="rId12" Type="http://schemas.openxmlformats.org/officeDocument/2006/relationships/slideLayout" Target="../slideLayouts/slideLayout327.xml"/><Relationship Id="rId17" Type="http://schemas.openxmlformats.org/officeDocument/2006/relationships/slideLayout" Target="../slideLayouts/slideLayout332.xml"/><Relationship Id="rId2" Type="http://schemas.openxmlformats.org/officeDocument/2006/relationships/slideLayout" Target="../slideLayouts/slideLayout317.xml"/><Relationship Id="rId16" Type="http://schemas.openxmlformats.org/officeDocument/2006/relationships/slideLayout" Target="../slideLayouts/slideLayout331.xml"/><Relationship Id="rId20" Type="http://schemas.openxmlformats.org/officeDocument/2006/relationships/theme" Target="../theme/theme18.xml"/><Relationship Id="rId1" Type="http://schemas.openxmlformats.org/officeDocument/2006/relationships/slideLayout" Target="../slideLayouts/slideLayout316.xml"/><Relationship Id="rId6" Type="http://schemas.openxmlformats.org/officeDocument/2006/relationships/slideLayout" Target="../slideLayouts/slideLayout321.xml"/><Relationship Id="rId11" Type="http://schemas.openxmlformats.org/officeDocument/2006/relationships/slideLayout" Target="../slideLayouts/slideLayout326.xml"/><Relationship Id="rId5" Type="http://schemas.openxmlformats.org/officeDocument/2006/relationships/slideLayout" Target="../slideLayouts/slideLayout320.xml"/><Relationship Id="rId15" Type="http://schemas.openxmlformats.org/officeDocument/2006/relationships/slideLayout" Target="../slideLayouts/slideLayout330.xml"/><Relationship Id="rId23" Type="http://schemas.openxmlformats.org/officeDocument/2006/relationships/image" Target="../media/image1.emf"/><Relationship Id="rId10" Type="http://schemas.openxmlformats.org/officeDocument/2006/relationships/slideLayout" Target="../slideLayouts/slideLayout325.xml"/><Relationship Id="rId19" Type="http://schemas.openxmlformats.org/officeDocument/2006/relationships/slideLayout" Target="../slideLayouts/slideLayout334.xml"/><Relationship Id="rId4" Type="http://schemas.openxmlformats.org/officeDocument/2006/relationships/slideLayout" Target="../slideLayouts/slideLayout319.xml"/><Relationship Id="rId9" Type="http://schemas.openxmlformats.org/officeDocument/2006/relationships/slideLayout" Target="../slideLayouts/slideLayout324.xml"/><Relationship Id="rId14" Type="http://schemas.openxmlformats.org/officeDocument/2006/relationships/slideLayout" Target="../slideLayouts/slideLayout329.xml"/><Relationship Id="rId22" Type="http://schemas.openxmlformats.org/officeDocument/2006/relationships/oleObject" Target="../embeddings/oleObject58.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tags" Target="../tags/tag408.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theme" Target="../theme/theme19.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image" Target="../media/image1.emf"/><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oleObject" Target="../embeddings/oleObject5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oleObject" Target="../embeddings/oleObject2.bin"/><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2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oleObject" Target="../embeddings/oleObject3.bin"/><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ags" Target="../tags/tag4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21" Type="http://schemas.openxmlformats.org/officeDocument/2006/relationships/theme" Target="../theme/theme4.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image" Target="../media/image1.emf"/><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oleObject" Target="../embeddings/oleObject4.bin"/><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tags" Target="../tags/tag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 Type="http://schemas.openxmlformats.org/officeDocument/2006/relationships/slideLayout" Target="../slideLayouts/slideLayout79.xml"/><Relationship Id="rId21" Type="http://schemas.openxmlformats.org/officeDocument/2006/relationships/theme" Target="../theme/theme5.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12.emf"/><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oleObject" Target="../embeddings/oleObject5.bin"/><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87.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ags" Target="../tags/tag8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hyperlink" Target="http://www.presentationgo.com/" TargetMode="Externa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image" Target="../media/image12.emf"/><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oleObject" Target="../embeddings/oleObject22.bin"/><Relationship Id="rId5" Type="http://schemas.openxmlformats.org/officeDocument/2006/relationships/slideLayout" Target="../slideLayouts/slideLayout101.xml"/><Relationship Id="rId10" Type="http://schemas.openxmlformats.org/officeDocument/2006/relationships/tags" Target="../tags/tag124.xml"/><Relationship Id="rId4" Type="http://schemas.openxmlformats.org/officeDocument/2006/relationships/slideLayout" Target="../slideLayouts/slideLayout100.xml"/><Relationship Id="rId9" Type="http://schemas.openxmlformats.org/officeDocument/2006/relationships/theme" Target="../theme/theme6.xml"/><Relationship Id="rId14"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3" Type="http://schemas.openxmlformats.org/officeDocument/2006/relationships/slideLayout" Target="../slideLayouts/slideLayout107.xml"/><Relationship Id="rId21" Type="http://schemas.openxmlformats.org/officeDocument/2006/relationships/tags" Target="../tags/tag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theme" Target="../theme/theme7.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image" Target="../media/image16.emf"/><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oleObject" Target="../embeddings/oleObject23.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tags" Target="../tags/tag14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heme" Target="../theme/theme8.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image" Target="../media/image16.emf"/><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oleObject" Target="../embeddings/oleObject25.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theme" Target="../theme/theme9.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image" Target="../media/image17.emf"/><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oleObject" Target="../embeddings/oleObject27.bin"/><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ags" Target="../tags/tag170.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tags" Target="../tags/tag1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6682D2-66B4-4AC2-A777-047B1BA89465}"/>
              </a:ext>
            </a:extLst>
          </p:cNvPr>
          <p:cNvGraphicFramePr>
            <a:graphicFrameLocks noChangeAspect="1"/>
          </p:cNvGraphicFramePr>
          <p:nvPr userDrawn="1">
            <p:custDataLst>
              <p:tags r:id="rId22"/>
            </p:custDataLst>
            <p:extLst>
              <p:ext uri="{D42A27DB-BD31-4B8C-83A1-F6EECF244321}">
                <p14:modId xmlns:p14="http://schemas.microsoft.com/office/powerpoint/2010/main" val="157765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8" imgH="408" progId="TCLayout.ActiveDocument.1">
                  <p:embed/>
                </p:oleObj>
              </mc:Choice>
              <mc:Fallback>
                <p:oleObj name="think-cell Slide" r:id="rId23" imgW="408" imgH="408" progId="TCLayout.ActiveDocument.1">
                  <p:embed/>
                  <p:pic>
                    <p:nvPicPr>
                      <p:cNvPr id="3" name="Object 2" hidden="1">
                        <a:extLst>
                          <a:ext uri="{FF2B5EF4-FFF2-40B4-BE49-F238E27FC236}">
                            <a16:creationId xmlns:a16="http://schemas.microsoft.com/office/drawing/2014/main" id="{666682D2-66B4-4AC2-A777-047B1BA8946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0132EEC-A62A-A643-7F7D-063464D65EBE}"/>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cSld>
  <p:clrMap bg1="lt1" tx1="dk1" bg2="lt2" tx2="dk2" accent1="accent1" accent2="accent2" accent3="accent3" accent4="accent4" accent5="accent5" accent6="accent6" hlink="hlink" folHlink="folHlink"/>
  <p:sldLayoutIdLst>
    <p:sldLayoutId id="2147486558" r:id="rId1"/>
    <p:sldLayoutId id="2147486559" r:id="rId2"/>
    <p:sldLayoutId id="2147486561" r:id="rId3"/>
    <p:sldLayoutId id="2147486562" r:id="rId4"/>
    <p:sldLayoutId id="2147486563" r:id="rId5"/>
    <p:sldLayoutId id="2147486564" r:id="rId6"/>
    <p:sldLayoutId id="2147486565" r:id="rId7"/>
    <p:sldLayoutId id="2147486566" r:id="rId8"/>
    <p:sldLayoutId id="2147486567" r:id="rId9"/>
    <p:sldLayoutId id="2147486568" r:id="rId10"/>
    <p:sldLayoutId id="2147486569" r:id="rId11"/>
    <p:sldLayoutId id="2147486570" r:id="rId12"/>
    <p:sldLayoutId id="2147486571" r:id="rId13"/>
    <p:sldLayoutId id="2147486580" r:id="rId14"/>
    <p:sldLayoutId id="2147486581" r:id="rId15"/>
    <p:sldLayoutId id="2147486572" r:id="rId16"/>
    <p:sldLayoutId id="2147486575" r:id="rId17"/>
    <p:sldLayoutId id="2147486576" r:id="rId18"/>
    <p:sldLayoutId id="2147486578" r:id="rId19"/>
    <p:sldLayoutId id="2147486959"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3829876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959EB4A-90D6-74C8-4AE4-A8BD26F27358}"/>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595106472"/>
      </p:ext>
    </p:extLst>
  </p:cSld>
  <p:clrMap bg1="lt1" tx1="dk1" bg2="lt2" tx2="dk2" accent1="accent1" accent2="accent2" accent3="accent3" accent4="accent4" accent5="accent5" accent6="accent6" hlink="hlink" folHlink="folHlink"/>
  <p:sldLayoutIdLst>
    <p:sldLayoutId id="2147486756" r:id="rId1"/>
    <p:sldLayoutId id="2147486757" r:id="rId2"/>
    <p:sldLayoutId id="2147486758" r:id="rId3"/>
    <p:sldLayoutId id="2147486759" r:id="rId4"/>
    <p:sldLayoutId id="2147486760" r:id="rId5"/>
    <p:sldLayoutId id="2147486761" r:id="rId6"/>
    <p:sldLayoutId id="2147486762" r:id="rId7"/>
    <p:sldLayoutId id="2147486763" r:id="rId8"/>
    <p:sldLayoutId id="2147486764" r:id="rId9"/>
    <p:sldLayoutId id="2147486765" r:id="rId10"/>
    <p:sldLayoutId id="2147486766" r:id="rId11"/>
    <p:sldLayoutId id="2147486767" r:id="rId12"/>
    <p:sldLayoutId id="2147486768" r:id="rId13"/>
    <p:sldLayoutId id="2147486769" r:id="rId14"/>
    <p:sldLayoutId id="2147486770" r:id="rId15"/>
    <p:sldLayoutId id="2147486771" r:id="rId16"/>
    <p:sldLayoutId id="2147486772" r:id="rId17"/>
    <p:sldLayoutId id="2147486773" r:id="rId18"/>
    <p:sldLayoutId id="214748677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ext uri="{D42A27DB-BD31-4B8C-83A1-F6EECF244321}">
                <p14:modId xmlns:p14="http://schemas.microsoft.com/office/powerpoint/2010/main" val="3606361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3" name="Object 2"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GB" sz="4000" b="0" i="0" u="none" strike="noStrike" cap="none" normalizeH="0" baseline="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4AADD6EF-930B-2D9C-ED60-F574CC2563D0}"/>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044096790"/>
      </p:ext>
    </p:extLst>
  </p:cSld>
  <p:clrMap bg1="lt1" tx1="dk1" bg2="lt2" tx2="dk2" accent1="accent1" accent2="accent2" accent3="accent3" accent4="accent4" accent5="accent5" accent6="accent6" hlink="hlink" folHlink="folHlink"/>
  <p:sldLayoutIdLst>
    <p:sldLayoutId id="2147486776" r:id="rId1"/>
    <p:sldLayoutId id="2147486777" r:id="rId2"/>
    <p:sldLayoutId id="2147486778" r:id="rId3"/>
    <p:sldLayoutId id="2147486779" r:id="rId4"/>
    <p:sldLayoutId id="2147486780" r:id="rId5"/>
    <p:sldLayoutId id="2147486781" r:id="rId6"/>
    <p:sldLayoutId id="2147486782" r:id="rId7"/>
    <p:sldLayoutId id="2147486783" r:id="rId8"/>
    <p:sldLayoutId id="2147486784" r:id="rId9"/>
    <p:sldLayoutId id="2147486785" r:id="rId10"/>
    <p:sldLayoutId id="2147486786" r:id="rId11"/>
    <p:sldLayoutId id="2147486787" r:id="rId12"/>
    <p:sldLayoutId id="2147486788" r:id="rId13"/>
    <p:sldLayoutId id="2147486789" r:id="rId14"/>
    <p:sldLayoutId id="2147486790" r:id="rId15"/>
    <p:sldLayoutId id="2147486791" r:id="rId16"/>
    <p:sldLayoutId id="2147486792" r:id="rId17"/>
    <p:sldLayoutId id="2147486793" r:id="rId18"/>
    <p:sldLayoutId id="214748679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ext uri="{D42A27DB-BD31-4B8C-83A1-F6EECF244321}">
                <p14:modId xmlns:p14="http://schemas.microsoft.com/office/powerpoint/2010/main" val="234283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3" name="Object 2"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2"/>
            </p:custDataLst>
          </p:nvPr>
        </p:nvSpPr>
        <p:spPr bwMode="auto">
          <a:xfrm>
            <a:off x="0" y="-105291"/>
            <a:ext cx="184731" cy="369332"/>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ts val="2700"/>
              </a:lnSpc>
              <a:spcBef>
                <a:spcPct val="0"/>
              </a:spcBef>
              <a:spcAft>
                <a:spcPct val="0"/>
              </a:spcAft>
              <a:buClrTx/>
              <a:buSzTx/>
              <a:buFontTx/>
              <a:buNone/>
              <a:tabLst/>
            </a:pPr>
            <a:endParaRPr kumimoji="0" lang="en-GB" sz="4000" b="0" i="0" u="none" strike="noStrike" cap="none" normalizeH="0" baseline="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BEBDD60B-2C4C-4561-2DD7-3A310B864F87}"/>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654877423"/>
      </p:ext>
    </p:extLst>
  </p:cSld>
  <p:clrMap bg1="lt1" tx1="dk1" bg2="lt2" tx2="dk2" accent1="accent1" accent2="accent2" accent3="accent3" accent4="accent4" accent5="accent5" accent6="accent6" hlink="hlink" folHlink="folHlink"/>
  <p:sldLayoutIdLst>
    <p:sldLayoutId id="2147486796" r:id="rId1"/>
    <p:sldLayoutId id="2147486797" r:id="rId2"/>
    <p:sldLayoutId id="2147486798" r:id="rId3"/>
    <p:sldLayoutId id="2147486799" r:id="rId4"/>
    <p:sldLayoutId id="2147486800" r:id="rId5"/>
    <p:sldLayoutId id="2147486801" r:id="rId6"/>
    <p:sldLayoutId id="2147486802" r:id="rId7"/>
    <p:sldLayoutId id="2147486803" r:id="rId8"/>
    <p:sldLayoutId id="2147486804" r:id="rId9"/>
    <p:sldLayoutId id="2147486805" r:id="rId10"/>
    <p:sldLayoutId id="2147486806" r:id="rId11"/>
    <p:sldLayoutId id="2147486807" r:id="rId12"/>
    <p:sldLayoutId id="2147486808" r:id="rId13"/>
    <p:sldLayoutId id="2147486809" r:id="rId14"/>
    <p:sldLayoutId id="2147486810" r:id="rId15"/>
    <p:sldLayoutId id="2147486811" r:id="rId16"/>
    <p:sldLayoutId id="2147486812" r:id="rId17"/>
    <p:sldLayoutId id="2147486813" r:id="rId18"/>
    <p:sldLayoutId id="214748681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129005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4E075BF-C41D-ECCA-7A6C-9261C50E5031}"/>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375423326"/>
      </p:ext>
    </p:extLst>
  </p:cSld>
  <p:clrMap bg1="lt1" tx1="dk1" bg2="lt2" tx2="dk2" accent1="accent1" accent2="accent2" accent3="accent3" accent4="accent4" accent5="accent5" accent6="accent6" hlink="hlink" folHlink="folHlink"/>
  <p:sldLayoutIdLst>
    <p:sldLayoutId id="2147486816" r:id="rId1"/>
    <p:sldLayoutId id="2147486817" r:id="rId2"/>
    <p:sldLayoutId id="2147486818" r:id="rId3"/>
    <p:sldLayoutId id="2147486819" r:id="rId4"/>
    <p:sldLayoutId id="2147486820" r:id="rId5"/>
    <p:sldLayoutId id="2147486821" r:id="rId6"/>
    <p:sldLayoutId id="2147486822" r:id="rId7"/>
    <p:sldLayoutId id="2147486823" r:id="rId8"/>
    <p:sldLayoutId id="2147486824" r:id="rId9"/>
    <p:sldLayoutId id="2147486825" r:id="rId10"/>
    <p:sldLayoutId id="2147486826" r:id="rId11"/>
    <p:sldLayoutId id="2147486827" r:id="rId12"/>
    <p:sldLayoutId id="2147486828" r:id="rId13"/>
    <p:sldLayoutId id="2147486829" r:id="rId14"/>
    <p:sldLayoutId id="2147486830" r:id="rId15"/>
    <p:sldLayoutId id="2147486831" r:id="rId16"/>
    <p:sldLayoutId id="2147486832" r:id="rId17"/>
    <p:sldLayoutId id="2147486833" r:id="rId18"/>
    <p:sldLayoutId id="2147486834"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3812315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16" imgH="216" progId="TCLayout.ActiveDocument.1">
                  <p:embed/>
                </p:oleObj>
              </mc:Choice>
              <mc:Fallback>
                <p:oleObj name="think-cell Slide" r:id="rId24" imgW="216" imgH="216" progId="TCLayout.ActiveDocument.1">
                  <p:embed/>
                  <p:pic>
                    <p:nvPicPr>
                      <p:cNvPr id="3" name="Object 2"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bwMode="auto">
          <a:xfrm>
            <a:off x="0" y="-105291"/>
            <a:ext cx="184731" cy="369332"/>
          </a:xfrm>
          <a:prstGeom prst="rect">
            <a:avLst/>
          </a:prstGeom>
          <a:noFill/>
          <a:ln w="9525" cap="flat" cmpd="sng" algn="ctr">
            <a:solidFill>
              <a:srgbClr val="FF0000"/>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E5016FDE-A5EB-9AA7-98E6-2E45E6FFD705}"/>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70289148"/>
      </p:ext>
    </p:extLst>
  </p:cSld>
  <p:clrMap bg1="lt1" tx1="dk1" bg2="lt2" tx2="dk2" accent1="accent1" accent2="accent2" accent3="accent3" accent4="accent4" accent5="accent5" accent6="accent6" hlink="hlink" folHlink="folHlink"/>
  <p:sldLayoutIdLst>
    <p:sldLayoutId id="2147486836" r:id="rId1"/>
    <p:sldLayoutId id="2147486837" r:id="rId2"/>
    <p:sldLayoutId id="2147486838" r:id="rId3"/>
    <p:sldLayoutId id="2147486839" r:id="rId4"/>
    <p:sldLayoutId id="2147486840" r:id="rId5"/>
    <p:sldLayoutId id="2147486841" r:id="rId6"/>
    <p:sldLayoutId id="2147486842" r:id="rId7"/>
    <p:sldLayoutId id="2147486843" r:id="rId8"/>
    <p:sldLayoutId id="2147486844" r:id="rId9"/>
    <p:sldLayoutId id="2147486845" r:id="rId10"/>
    <p:sldLayoutId id="2147486846" r:id="rId11"/>
    <p:sldLayoutId id="2147486847" r:id="rId12"/>
    <p:sldLayoutId id="2147486848" r:id="rId13"/>
    <p:sldLayoutId id="2147486849" r:id="rId14"/>
    <p:sldLayoutId id="2147486850" r:id="rId15"/>
    <p:sldLayoutId id="2147486851" r:id="rId16"/>
    <p:sldLayoutId id="2147486852" r:id="rId17"/>
    <p:sldLayoutId id="2147486853" r:id="rId18"/>
    <p:sldLayoutId id="2147486854" r:id="rId19"/>
    <p:sldLayoutId id="2147486855"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3810822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C86552F-E90E-A1D5-C97D-391384606F03}"/>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841485762"/>
      </p:ext>
    </p:extLst>
  </p:cSld>
  <p:clrMap bg1="lt1" tx1="dk1" bg2="lt2" tx2="dk2" accent1="accent1" accent2="accent2" accent3="accent3" accent4="accent4" accent5="accent5" accent6="accent6" hlink="hlink" folHlink="folHlink"/>
  <p:sldLayoutIdLst>
    <p:sldLayoutId id="2147486857" r:id="rId1"/>
    <p:sldLayoutId id="2147486858" r:id="rId2"/>
    <p:sldLayoutId id="2147486859" r:id="rId3"/>
    <p:sldLayoutId id="2147486860" r:id="rId4"/>
    <p:sldLayoutId id="2147486861" r:id="rId5"/>
    <p:sldLayoutId id="2147486862" r:id="rId6"/>
    <p:sldLayoutId id="2147486863" r:id="rId7"/>
    <p:sldLayoutId id="2147486864" r:id="rId8"/>
    <p:sldLayoutId id="2147486865" r:id="rId9"/>
    <p:sldLayoutId id="2147486866" r:id="rId10"/>
    <p:sldLayoutId id="2147486867" r:id="rId11"/>
    <p:sldLayoutId id="2147486868" r:id="rId12"/>
    <p:sldLayoutId id="2147486869" r:id="rId13"/>
    <p:sldLayoutId id="2147486870" r:id="rId14"/>
    <p:sldLayoutId id="2147486871" r:id="rId15"/>
    <p:sldLayoutId id="2147486872" r:id="rId16"/>
    <p:sldLayoutId id="2147486873" r:id="rId17"/>
    <p:sldLayoutId id="2147486874" r:id="rId18"/>
    <p:sldLayoutId id="2147486875"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A2CED62-DCA5-443A-9D1B-6650BE0B8BF3}"/>
              </a:ext>
            </a:extLst>
          </p:cNvPr>
          <p:cNvGraphicFramePr>
            <a:graphicFrameLocks noChangeAspect="1"/>
          </p:cNvGraphicFramePr>
          <p:nvPr userDrawn="1">
            <p:custDataLst>
              <p:tags r:id="rId22"/>
            </p:custDataLst>
            <p:extLst>
              <p:ext uri="{D42A27DB-BD31-4B8C-83A1-F6EECF244321}">
                <p14:modId xmlns:p14="http://schemas.microsoft.com/office/powerpoint/2010/main" val="364632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86" imgH="286" progId="TCLayout.ActiveDocument.1">
                  <p:embed/>
                </p:oleObj>
              </mc:Choice>
              <mc:Fallback>
                <p:oleObj name="think-cell Slide" r:id="rId23" imgW="286" imgH="286" progId="TCLayout.ActiveDocument.1">
                  <p:embed/>
                  <p:pic>
                    <p:nvPicPr>
                      <p:cNvPr id="3" name="Object 2" hidden="1">
                        <a:extLst>
                          <a:ext uri="{FF2B5EF4-FFF2-40B4-BE49-F238E27FC236}">
                            <a16:creationId xmlns:a16="http://schemas.microsoft.com/office/drawing/2014/main" id="{CA2CED62-DCA5-443A-9D1B-6650BE0B8BF3}"/>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DB057D73-6862-4168-AE93-98FF18D72D44}"/>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44114620"/>
      </p:ext>
    </p:extLst>
  </p:cSld>
  <p:clrMap bg1="lt1" tx1="dk1" bg2="lt2" tx2="dk2" accent1="accent1" accent2="accent2" accent3="accent3" accent4="accent4" accent5="accent5" accent6="accent6" hlink="hlink" folHlink="folHlink"/>
  <p:sldLayoutIdLst>
    <p:sldLayoutId id="2147486877" r:id="rId1"/>
    <p:sldLayoutId id="2147486878" r:id="rId2"/>
    <p:sldLayoutId id="2147486879" r:id="rId3"/>
    <p:sldLayoutId id="2147486880" r:id="rId4"/>
    <p:sldLayoutId id="2147486881" r:id="rId5"/>
    <p:sldLayoutId id="2147486882" r:id="rId6"/>
    <p:sldLayoutId id="2147486883" r:id="rId7"/>
    <p:sldLayoutId id="2147486884" r:id="rId8"/>
    <p:sldLayoutId id="2147486885" r:id="rId9"/>
    <p:sldLayoutId id="2147486886" r:id="rId10"/>
    <p:sldLayoutId id="2147486887" r:id="rId11"/>
    <p:sldLayoutId id="2147486888" r:id="rId12"/>
    <p:sldLayoutId id="2147486889" r:id="rId13"/>
    <p:sldLayoutId id="2147486890" r:id="rId14"/>
    <p:sldLayoutId id="2147486891" r:id="rId15"/>
    <p:sldLayoutId id="2147486892" r:id="rId16"/>
    <p:sldLayoutId id="2147486893" r:id="rId17"/>
    <p:sldLayoutId id="2147486894" r:id="rId18"/>
    <p:sldLayoutId id="2147486895" r:id="rId19"/>
    <p:sldLayoutId id="2147486896"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6332C-295C-4063-8341-E386C87FC7A6}"/>
              </a:ext>
            </a:extLst>
          </p:cNvPr>
          <p:cNvGraphicFramePr>
            <a:graphicFrameLocks noChangeAspect="1"/>
          </p:cNvGraphicFramePr>
          <p:nvPr userDrawn="1">
            <p:custDataLst>
              <p:tags r:id="rId20"/>
            </p:custDataLst>
            <p:extLst>
              <p:ext uri="{D42A27DB-BD31-4B8C-83A1-F6EECF244321}">
                <p14:modId xmlns:p14="http://schemas.microsoft.com/office/powerpoint/2010/main" val="1582350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473" imgH="476" progId="TCLayout.ActiveDocument.1">
                  <p:embed/>
                </p:oleObj>
              </mc:Choice>
              <mc:Fallback>
                <p:oleObj name="think-cell Slide" r:id="rId22" imgW="473" imgH="476" progId="TCLayout.ActiveDocument.1">
                  <p:embed/>
                  <p:pic>
                    <p:nvPicPr>
                      <p:cNvPr id="5" name="Object 4" hidden="1">
                        <a:extLst>
                          <a:ext uri="{FF2B5EF4-FFF2-40B4-BE49-F238E27FC236}">
                            <a16:creationId xmlns:a16="http://schemas.microsoft.com/office/drawing/2014/main" id="{7506332C-295C-4063-8341-E386C87FC7A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034F5-8C7B-4FEB-B2D3-A3F51059A694}"/>
              </a:ext>
            </a:extLst>
          </p:cNvPr>
          <p:cNvSpPr/>
          <p:nvPr userDrawn="1">
            <p:custDataLst>
              <p:tags r:id="rId21"/>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err="1"/>
              <a:t>Mastertextformat</a:t>
            </a:r>
            <a:r>
              <a:rPr lang="en-GB" altLang="en-US"/>
              <a:t> </a:t>
            </a:r>
            <a:r>
              <a:rPr lang="en-GB" altLang="en-US" err="1"/>
              <a:t>bearbeiten</a:t>
            </a:r>
            <a:endParaRPr lang="en-GB" altLang="en-US"/>
          </a:p>
          <a:p>
            <a:pPr lvl="1"/>
            <a:r>
              <a:rPr lang="en-GB" altLang="en-US" err="1"/>
              <a:t>Zweite</a:t>
            </a:r>
            <a:r>
              <a:rPr lang="en-GB" altLang="en-US"/>
              <a:t> </a:t>
            </a:r>
            <a:r>
              <a:rPr lang="en-GB" altLang="en-US" err="1"/>
              <a:t>Ebene</a:t>
            </a:r>
            <a:endParaRPr lang="en-GB" altLang="en-US"/>
          </a:p>
          <a:p>
            <a:pPr lvl="2"/>
            <a:r>
              <a:rPr lang="en-GB" altLang="en-US" err="1"/>
              <a:t>Dritte</a:t>
            </a:r>
            <a:r>
              <a:rPr lang="en-GB" altLang="en-US"/>
              <a:t> </a:t>
            </a:r>
            <a:r>
              <a:rPr lang="en-GB" altLang="en-US" err="1"/>
              <a:t>Ebene</a:t>
            </a:r>
            <a:endParaRPr lang="en-GB" altLang="en-US"/>
          </a:p>
          <a:p>
            <a:pPr lvl="3"/>
            <a:r>
              <a:rPr lang="en-GB" altLang="en-US" err="1"/>
              <a:t>Vierte</a:t>
            </a:r>
            <a:r>
              <a:rPr lang="en-GB" altLang="en-US"/>
              <a:t> </a:t>
            </a:r>
            <a:r>
              <a:rPr lang="en-GB" altLang="en-US" err="1"/>
              <a:t>Ebene</a:t>
            </a:r>
            <a:endParaRPr lang="en-GB" altLang="en-US"/>
          </a:p>
          <a:p>
            <a:pPr lvl="4"/>
            <a:r>
              <a:rPr lang="en-GB" altLang="en-US" err="1"/>
              <a:t>Fünfte</a:t>
            </a:r>
            <a:r>
              <a:rPr lang="en-GB" altLang="en-US"/>
              <a:t> </a:t>
            </a:r>
            <a:r>
              <a:rPr lang="en-GB" altLang="en-US" err="1"/>
              <a:t>Ebene</a:t>
            </a:r>
            <a:endParaRPr lang="en-GB" altLang="en-US"/>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3" name="TextBox 2">
            <a:extLst>
              <a:ext uri="{FF2B5EF4-FFF2-40B4-BE49-F238E27FC236}">
                <a16:creationId xmlns:a16="http://schemas.microsoft.com/office/drawing/2014/main" id="{DA36AD19-87A0-0A8F-3C24-BC804AD5F13D}"/>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463776946"/>
      </p:ext>
    </p:extLst>
  </p:cSld>
  <p:clrMap bg1="lt1" tx1="dk1" bg2="lt2" tx2="dk2" accent1="accent1" accent2="accent2" accent3="accent3" accent4="accent4" accent5="accent5" accent6="accent6" hlink="hlink" folHlink="folHlink"/>
  <p:sldLayoutIdLst>
    <p:sldLayoutId id="2147486899" r:id="rId1"/>
    <p:sldLayoutId id="2147486900" r:id="rId2"/>
    <p:sldLayoutId id="2147486901" r:id="rId3"/>
    <p:sldLayoutId id="2147486902" r:id="rId4"/>
    <p:sldLayoutId id="2147486903" r:id="rId5"/>
    <p:sldLayoutId id="2147486904" r:id="rId6"/>
    <p:sldLayoutId id="2147486905" r:id="rId7"/>
    <p:sldLayoutId id="2147486906" r:id="rId8"/>
    <p:sldLayoutId id="2147486907" r:id="rId9"/>
    <p:sldLayoutId id="2147486908" r:id="rId10"/>
    <p:sldLayoutId id="2147486909" r:id="rId11"/>
    <p:sldLayoutId id="2147486910" r:id="rId12"/>
    <p:sldLayoutId id="2147486911" r:id="rId13"/>
    <p:sldLayoutId id="2147486912" r:id="rId14"/>
    <p:sldLayoutId id="2147486913" r:id="rId15"/>
    <p:sldLayoutId id="2147486914" r:id="rId16"/>
    <p:sldLayoutId id="2147486915" r:id="rId17"/>
    <p:sldLayoutId id="2147486916" r:id="rId18"/>
  </p:sldLayoutIdLst>
  <p:hf hdr="0" ft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6682D2-66B4-4AC2-A777-047B1BA89465}"/>
              </a:ext>
            </a:extLst>
          </p:cNvPr>
          <p:cNvGraphicFramePr>
            <a:graphicFrameLocks noChangeAspect="1"/>
          </p:cNvGraphicFramePr>
          <p:nvPr userDrawn="1">
            <p:custDataLst>
              <p:tags r:id="rId21"/>
            </p:custDataLst>
            <p:extLst>
              <p:ext uri="{D42A27DB-BD31-4B8C-83A1-F6EECF244321}">
                <p14:modId xmlns:p14="http://schemas.microsoft.com/office/powerpoint/2010/main" val="184865049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2" imgW="408" imgH="408" progId="TCLayout.ActiveDocument.1">
                  <p:embed/>
                </p:oleObj>
              </mc:Choice>
              <mc:Fallback>
                <p:oleObj name="think-cell Slide" r:id="rId22" imgW="408" imgH="408" progId="TCLayout.ActiveDocument.1">
                  <p:embed/>
                  <p:pic>
                    <p:nvPicPr>
                      <p:cNvPr id="3" name="Object 2" hidden="1">
                        <a:extLst>
                          <a:ext uri="{FF2B5EF4-FFF2-40B4-BE49-F238E27FC236}">
                            <a16:creationId xmlns:a16="http://schemas.microsoft.com/office/drawing/2014/main" id="{666682D2-66B4-4AC2-A777-047B1BA89465}"/>
                          </a:ext>
                        </a:extLst>
                      </p:cNvPr>
                      <p:cNvPicPr/>
                      <p:nvPr/>
                    </p:nvPicPr>
                    <p:blipFill>
                      <a:blip r:embed="rId23"/>
                      <a:stretch>
                        <a:fillRect/>
                      </a:stretch>
                    </p:blipFill>
                    <p:spPr>
                      <a:xfrm>
                        <a:off x="1589" y="1589"/>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sz="180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915"/>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180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0132EEC-A62A-A643-7F7D-063464D65EBE}"/>
              </a:ext>
            </a:extLst>
          </p:cNvPr>
          <p:cNvSpPr txBox="1"/>
          <p:nvPr userDrawn="1">
            <p:extLst>
              <p:ext uri="{1162E1C5-73C7-4A58-AE30-91384D911F3F}">
                <p184:classification xmlns:p184="http://schemas.microsoft.com/office/powerpoint/2018/4/main" val="hdr"/>
              </p:ext>
            </p:extLst>
          </p:nvPr>
        </p:nvSpPr>
        <p:spPr>
          <a:xfrm>
            <a:off x="8374064" y="1"/>
            <a:ext cx="795337" cy="138499"/>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27172842"/>
      </p:ext>
    </p:extLst>
  </p:cSld>
  <p:clrMap bg1="lt1" tx1="dk1" bg2="lt2" tx2="dk2" accent1="accent1" accent2="accent2" accent3="accent3" accent4="accent4" accent5="accent5" accent6="accent6" hlink="hlink" folHlink="folHlink"/>
  <p:sldLayoutIdLst>
    <p:sldLayoutId id="2147486919" r:id="rId1"/>
    <p:sldLayoutId id="2147486920" r:id="rId2"/>
    <p:sldLayoutId id="2147486921" r:id="rId3"/>
    <p:sldLayoutId id="2147486922" r:id="rId4"/>
    <p:sldLayoutId id="2147486923" r:id="rId5"/>
    <p:sldLayoutId id="2147486924" r:id="rId6"/>
    <p:sldLayoutId id="2147486925" r:id="rId7"/>
    <p:sldLayoutId id="2147486926" r:id="rId8"/>
    <p:sldLayoutId id="2147486927" r:id="rId9"/>
    <p:sldLayoutId id="2147486928" r:id="rId10"/>
    <p:sldLayoutId id="2147486929" r:id="rId11"/>
    <p:sldLayoutId id="2147486930" r:id="rId12"/>
    <p:sldLayoutId id="2147486931" r:id="rId13"/>
    <p:sldLayoutId id="2147486932" r:id="rId14"/>
    <p:sldLayoutId id="2147486933" r:id="rId15"/>
    <p:sldLayoutId id="2147486934" r:id="rId16"/>
    <p:sldLayoutId id="2147486935" r:id="rId17"/>
    <p:sldLayoutId id="2147486936" r:id="rId18"/>
    <p:sldLayoutId id="2147486937"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42" algn="l" rtl="0" eaLnBrk="1" fontAlgn="base" hangingPunct="1">
        <a:spcBef>
          <a:spcPct val="0"/>
        </a:spcBef>
        <a:spcAft>
          <a:spcPct val="0"/>
        </a:spcAft>
        <a:defRPr>
          <a:solidFill>
            <a:schemeClr val="tx1"/>
          </a:solidFill>
          <a:latin typeface="+mn-lt"/>
          <a:cs typeface="+mn-cs"/>
        </a:defRPr>
      </a:lvl2pPr>
      <a:lvl3pPr marL="596885" algn="l" rtl="0" eaLnBrk="1" fontAlgn="base" hangingPunct="1">
        <a:spcBef>
          <a:spcPct val="0"/>
        </a:spcBef>
        <a:spcAft>
          <a:spcPct val="0"/>
        </a:spcAft>
        <a:defRPr sz="1600">
          <a:solidFill>
            <a:schemeClr val="tx1"/>
          </a:solidFill>
          <a:latin typeface="+mn-lt"/>
          <a:cs typeface="+mn-cs"/>
        </a:defRPr>
      </a:lvl3pPr>
      <a:lvl4pPr marL="914378" algn="l" rtl="0" eaLnBrk="1" fontAlgn="base" hangingPunct="1">
        <a:spcBef>
          <a:spcPct val="0"/>
        </a:spcBef>
        <a:spcAft>
          <a:spcPct val="0"/>
        </a:spcAft>
        <a:defRPr sz="1600">
          <a:solidFill>
            <a:schemeClr val="tx1"/>
          </a:solidFill>
          <a:latin typeface="+mn-lt"/>
          <a:cs typeface="+mn-cs"/>
        </a:defRPr>
      </a:lvl4pPr>
      <a:lvl5pPr marL="1219169"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6682D2-66B4-4AC2-A777-047B1BA89465}"/>
              </a:ext>
            </a:extLst>
          </p:cNvPr>
          <p:cNvGraphicFramePr>
            <a:graphicFrameLocks noChangeAspect="1"/>
          </p:cNvGraphicFramePr>
          <p:nvPr userDrawn="1">
            <p:custDataLst>
              <p:tags r:id="rId21"/>
            </p:custDataLst>
            <p:extLst>
              <p:ext uri="{D42A27DB-BD31-4B8C-83A1-F6EECF244321}">
                <p14:modId xmlns:p14="http://schemas.microsoft.com/office/powerpoint/2010/main" val="38508974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2" imgW="408" imgH="408" progId="TCLayout.ActiveDocument.1">
                  <p:embed/>
                </p:oleObj>
              </mc:Choice>
              <mc:Fallback>
                <p:oleObj name="think-cell Slide" r:id="rId22" imgW="408" imgH="408" progId="TCLayout.ActiveDocument.1">
                  <p:embed/>
                  <p:pic>
                    <p:nvPicPr>
                      <p:cNvPr id="3" name="Object 2" hidden="1">
                        <a:extLst>
                          <a:ext uri="{FF2B5EF4-FFF2-40B4-BE49-F238E27FC236}">
                            <a16:creationId xmlns:a16="http://schemas.microsoft.com/office/drawing/2014/main" id="{666682D2-66B4-4AC2-A777-047B1BA89465}"/>
                          </a:ext>
                        </a:extLst>
                      </p:cNvPr>
                      <p:cNvPicPr/>
                      <p:nvPr/>
                    </p:nvPicPr>
                    <p:blipFill>
                      <a:blip r:embed="rId23"/>
                      <a:stretch>
                        <a:fillRect/>
                      </a:stretch>
                    </p:blipFill>
                    <p:spPr>
                      <a:xfrm>
                        <a:off x="1589" y="1589"/>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sz="180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915"/>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sz="1800">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20132EEC-A62A-A643-7F7D-063464D65EBE}"/>
              </a:ext>
            </a:extLst>
          </p:cNvPr>
          <p:cNvSpPr txBox="1"/>
          <p:nvPr userDrawn="1">
            <p:extLst>
              <p:ext uri="{1162E1C5-73C7-4A58-AE30-91384D911F3F}">
                <p184:classification xmlns:p184="http://schemas.microsoft.com/office/powerpoint/2018/4/main" val="hdr"/>
              </p:ext>
            </p:extLst>
          </p:nvPr>
        </p:nvSpPr>
        <p:spPr>
          <a:xfrm>
            <a:off x="8374064" y="1"/>
            <a:ext cx="795337" cy="138499"/>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546569322"/>
      </p:ext>
    </p:extLst>
  </p:cSld>
  <p:clrMap bg1="lt1" tx1="dk1" bg2="lt2" tx2="dk2" accent1="accent1" accent2="accent2" accent3="accent3" accent4="accent4" accent5="accent5" accent6="accent6" hlink="hlink" folHlink="folHlink"/>
  <p:sldLayoutIdLst>
    <p:sldLayoutId id="2147486940" r:id="rId1"/>
    <p:sldLayoutId id="2147486941" r:id="rId2"/>
    <p:sldLayoutId id="2147486942" r:id="rId3"/>
    <p:sldLayoutId id="2147486943" r:id="rId4"/>
    <p:sldLayoutId id="2147486944" r:id="rId5"/>
    <p:sldLayoutId id="2147486945" r:id="rId6"/>
    <p:sldLayoutId id="2147486946" r:id="rId7"/>
    <p:sldLayoutId id="2147486947" r:id="rId8"/>
    <p:sldLayoutId id="2147486948" r:id="rId9"/>
    <p:sldLayoutId id="2147486949" r:id="rId10"/>
    <p:sldLayoutId id="2147486950" r:id="rId11"/>
    <p:sldLayoutId id="2147486951" r:id="rId12"/>
    <p:sldLayoutId id="2147486952" r:id="rId13"/>
    <p:sldLayoutId id="2147486953" r:id="rId14"/>
    <p:sldLayoutId id="2147486954" r:id="rId15"/>
    <p:sldLayoutId id="2147486955" r:id="rId16"/>
    <p:sldLayoutId id="2147486956" r:id="rId17"/>
    <p:sldLayoutId id="2147486957" r:id="rId18"/>
    <p:sldLayoutId id="2147486958"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42" algn="l" rtl="0" eaLnBrk="1" fontAlgn="base" hangingPunct="1">
        <a:spcBef>
          <a:spcPct val="0"/>
        </a:spcBef>
        <a:spcAft>
          <a:spcPct val="0"/>
        </a:spcAft>
        <a:defRPr>
          <a:solidFill>
            <a:schemeClr val="tx1"/>
          </a:solidFill>
          <a:latin typeface="+mn-lt"/>
          <a:cs typeface="+mn-cs"/>
        </a:defRPr>
      </a:lvl2pPr>
      <a:lvl3pPr marL="596885" algn="l" rtl="0" eaLnBrk="1" fontAlgn="base" hangingPunct="1">
        <a:spcBef>
          <a:spcPct val="0"/>
        </a:spcBef>
        <a:spcAft>
          <a:spcPct val="0"/>
        </a:spcAft>
        <a:defRPr sz="1600">
          <a:solidFill>
            <a:schemeClr val="tx1"/>
          </a:solidFill>
          <a:latin typeface="+mn-lt"/>
          <a:cs typeface="+mn-cs"/>
        </a:defRPr>
      </a:lvl3pPr>
      <a:lvl4pPr marL="914378" algn="l" rtl="0" eaLnBrk="1" fontAlgn="base" hangingPunct="1">
        <a:spcBef>
          <a:spcPct val="0"/>
        </a:spcBef>
        <a:spcAft>
          <a:spcPct val="0"/>
        </a:spcAft>
        <a:defRPr sz="1600">
          <a:solidFill>
            <a:schemeClr val="tx1"/>
          </a:solidFill>
          <a:latin typeface="+mn-lt"/>
          <a:cs typeface="+mn-cs"/>
        </a:defRPr>
      </a:lvl4pPr>
      <a:lvl5pPr marL="1219169"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411D44-3AB5-4C06-919B-63B43304442B}"/>
              </a:ext>
            </a:extLst>
          </p:cNvPr>
          <p:cNvGraphicFramePr>
            <a:graphicFrameLocks noChangeAspect="1"/>
          </p:cNvGraphicFramePr>
          <p:nvPr userDrawn="1">
            <p:custDataLst>
              <p:tags r:id="rId20"/>
            </p:custDataLst>
            <p:extLst>
              <p:ext uri="{D42A27DB-BD31-4B8C-83A1-F6EECF244321}">
                <p14:modId xmlns:p14="http://schemas.microsoft.com/office/powerpoint/2010/main" val="147689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3" name="Object 2" hidden="1">
                        <a:extLst>
                          <a:ext uri="{FF2B5EF4-FFF2-40B4-BE49-F238E27FC236}">
                            <a16:creationId xmlns:a16="http://schemas.microsoft.com/office/drawing/2014/main" id="{47411D44-3AB5-4C06-919B-63B43304442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err="1"/>
              <a:t>Mastertextformat</a:t>
            </a:r>
            <a:r>
              <a:rPr lang="en-GB" altLang="en-US"/>
              <a:t> </a:t>
            </a:r>
            <a:r>
              <a:rPr lang="en-GB" altLang="en-US" err="1"/>
              <a:t>bearbeiten</a:t>
            </a:r>
            <a:endParaRPr lang="en-GB" altLang="en-US"/>
          </a:p>
          <a:p>
            <a:pPr lvl="1"/>
            <a:r>
              <a:rPr lang="en-GB" altLang="en-US" err="1"/>
              <a:t>Zweite</a:t>
            </a:r>
            <a:r>
              <a:rPr lang="en-GB" altLang="en-US"/>
              <a:t> </a:t>
            </a:r>
            <a:r>
              <a:rPr lang="en-GB" altLang="en-US" err="1"/>
              <a:t>Ebene</a:t>
            </a:r>
            <a:endParaRPr lang="en-GB" altLang="en-US"/>
          </a:p>
          <a:p>
            <a:pPr lvl="2"/>
            <a:r>
              <a:rPr lang="en-GB" altLang="en-US" err="1"/>
              <a:t>Dritte</a:t>
            </a:r>
            <a:r>
              <a:rPr lang="en-GB" altLang="en-US"/>
              <a:t> </a:t>
            </a:r>
            <a:r>
              <a:rPr lang="en-GB" altLang="en-US" err="1"/>
              <a:t>Ebene</a:t>
            </a:r>
            <a:endParaRPr lang="en-GB" altLang="en-US"/>
          </a:p>
          <a:p>
            <a:pPr lvl="3"/>
            <a:r>
              <a:rPr lang="en-GB" altLang="en-US" err="1"/>
              <a:t>Vierte</a:t>
            </a:r>
            <a:r>
              <a:rPr lang="en-GB" altLang="en-US"/>
              <a:t> </a:t>
            </a:r>
            <a:r>
              <a:rPr lang="en-GB" altLang="en-US" err="1"/>
              <a:t>Ebene</a:t>
            </a:r>
            <a:endParaRPr lang="en-GB" altLang="en-US"/>
          </a:p>
          <a:p>
            <a:pPr lvl="4"/>
            <a:r>
              <a:rPr lang="en-GB" altLang="en-US" err="1"/>
              <a:t>Fünfte</a:t>
            </a:r>
            <a:r>
              <a:rPr lang="en-GB" altLang="en-US"/>
              <a:t> </a:t>
            </a:r>
            <a:r>
              <a:rPr lang="en-GB" altLang="en-US" err="1"/>
              <a:t>Ebene</a:t>
            </a:r>
            <a:endParaRPr lang="en-GB" altLang="en-US"/>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103B0F13-1C89-5EBE-2028-0592DF3DA879}"/>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461940004"/>
      </p:ext>
    </p:extLst>
  </p:cSld>
  <p:clrMap bg1="lt1" tx1="dk1" bg2="lt2" tx2="dk2" accent1="accent1" accent2="accent2" accent3="accent3" accent4="accent4" accent5="accent5" accent6="accent6" hlink="hlink" folHlink="folHlink"/>
  <p:sldLayoutIdLst>
    <p:sldLayoutId id="2147486584" r:id="rId1"/>
    <p:sldLayoutId id="2147486585" r:id="rId2"/>
    <p:sldLayoutId id="2147486586" r:id="rId3"/>
    <p:sldLayoutId id="2147486587" r:id="rId4"/>
    <p:sldLayoutId id="2147486588" r:id="rId5"/>
    <p:sldLayoutId id="2147486589" r:id="rId6"/>
    <p:sldLayoutId id="2147486590" r:id="rId7"/>
    <p:sldLayoutId id="2147486591" r:id="rId8"/>
    <p:sldLayoutId id="2147486592" r:id="rId9"/>
    <p:sldLayoutId id="2147486593" r:id="rId10"/>
    <p:sldLayoutId id="2147486594" r:id="rId11"/>
    <p:sldLayoutId id="2147486595" r:id="rId12"/>
    <p:sldLayoutId id="2147486596" r:id="rId13"/>
    <p:sldLayoutId id="2147486597" r:id="rId14"/>
    <p:sldLayoutId id="2147486598" r:id="rId15"/>
    <p:sldLayoutId id="2147486599" r:id="rId16"/>
    <p:sldLayoutId id="2147486600" r:id="rId17"/>
    <p:sldLayoutId id="2147486601" r:id="rId18"/>
  </p:sldLayoutIdLst>
  <p:hf hd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50" algn="l" rtl="0" eaLnBrk="0" fontAlgn="base" hangingPunct="0">
        <a:spcBef>
          <a:spcPct val="0"/>
        </a:spcBef>
        <a:spcAft>
          <a:spcPct val="0"/>
        </a:spcAft>
        <a:defRPr>
          <a:solidFill>
            <a:schemeClr val="tx1"/>
          </a:solidFill>
          <a:latin typeface="+mn-lt"/>
          <a:cs typeface="+mn-cs"/>
        </a:defRPr>
      </a:lvl2pPr>
      <a:lvl3pPr marL="596900" algn="l" rtl="0" eaLnBrk="0" fontAlgn="base" hangingPunct="0">
        <a:spcBef>
          <a:spcPct val="0"/>
        </a:spcBef>
        <a:spcAft>
          <a:spcPct val="0"/>
        </a:spcAft>
        <a:defRPr sz="1600">
          <a:solidFill>
            <a:schemeClr val="tx1"/>
          </a:solidFill>
          <a:latin typeface="+mn-lt"/>
          <a:cs typeface="+mn-cs"/>
        </a:defRPr>
      </a:lvl3pPr>
      <a:lvl4pPr marL="914400" algn="l" rtl="0" eaLnBrk="0" fontAlgn="base" hangingPunct="0">
        <a:spcBef>
          <a:spcPct val="0"/>
        </a:spcBef>
        <a:spcAft>
          <a:spcPct val="0"/>
        </a:spcAft>
        <a:defRPr sz="1600">
          <a:solidFill>
            <a:schemeClr val="tx1"/>
          </a:solidFill>
          <a:latin typeface="+mn-lt"/>
          <a:cs typeface="+mn-cs"/>
        </a:defRPr>
      </a:lvl4pPr>
      <a:lvl5pPr marL="1219200"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4D0689-C4EB-46F2-A256-18BB5640FD8B}"/>
              </a:ext>
            </a:extLst>
          </p:cNvPr>
          <p:cNvGraphicFramePr>
            <a:graphicFrameLocks noChangeAspect="1"/>
          </p:cNvGraphicFramePr>
          <p:nvPr userDrawn="1">
            <p:custDataLst>
              <p:tags r:id="rId20"/>
            </p:custDataLst>
            <p:extLst>
              <p:ext uri="{D42A27DB-BD31-4B8C-83A1-F6EECF244321}">
                <p14:modId xmlns:p14="http://schemas.microsoft.com/office/powerpoint/2010/main" val="95955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08" imgH="408" progId="TCLayout.ActiveDocument.1">
                  <p:embed/>
                </p:oleObj>
              </mc:Choice>
              <mc:Fallback>
                <p:oleObj name="think-cell Slide" r:id="rId21" imgW="408" imgH="408" progId="TCLayout.ActiveDocument.1">
                  <p:embed/>
                  <p:pic>
                    <p:nvPicPr>
                      <p:cNvPr id="3" name="Object 2" hidden="1">
                        <a:extLst>
                          <a:ext uri="{FF2B5EF4-FFF2-40B4-BE49-F238E27FC236}">
                            <a16:creationId xmlns:a16="http://schemas.microsoft.com/office/drawing/2014/main" id="{074D0689-C4EB-46F2-A256-18BB5640FD8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err="1"/>
              <a:t>Mastertextformat</a:t>
            </a:r>
            <a:r>
              <a:rPr lang="en-GB" altLang="en-US"/>
              <a:t> </a:t>
            </a:r>
            <a:r>
              <a:rPr lang="en-GB" altLang="en-US" err="1"/>
              <a:t>bearbeiten</a:t>
            </a:r>
            <a:endParaRPr lang="en-GB" altLang="en-US"/>
          </a:p>
          <a:p>
            <a:pPr lvl="1"/>
            <a:r>
              <a:rPr lang="en-GB" altLang="en-US" err="1"/>
              <a:t>Zweite</a:t>
            </a:r>
            <a:r>
              <a:rPr lang="en-GB" altLang="en-US"/>
              <a:t> </a:t>
            </a:r>
            <a:r>
              <a:rPr lang="en-GB" altLang="en-US" err="1"/>
              <a:t>Ebene</a:t>
            </a:r>
            <a:endParaRPr lang="en-GB" altLang="en-US"/>
          </a:p>
          <a:p>
            <a:pPr lvl="2"/>
            <a:r>
              <a:rPr lang="en-GB" altLang="en-US" err="1"/>
              <a:t>Dritte</a:t>
            </a:r>
            <a:r>
              <a:rPr lang="en-GB" altLang="en-US"/>
              <a:t> </a:t>
            </a:r>
            <a:r>
              <a:rPr lang="en-GB" altLang="en-US" err="1"/>
              <a:t>Ebene</a:t>
            </a:r>
            <a:endParaRPr lang="en-GB" altLang="en-US"/>
          </a:p>
          <a:p>
            <a:pPr lvl="3"/>
            <a:r>
              <a:rPr lang="en-GB" altLang="en-US" err="1"/>
              <a:t>Vierte</a:t>
            </a:r>
            <a:r>
              <a:rPr lang="en-GB" altLang="en-US"/>
              <a:t> </a:t>
            </a:r>
            <a:r>
              <a:rPr lang="en-GB" altLang="en-US" err="1"/>
              <a:t>Ebene</a:t>
            </a:r>
            <a:endParaRPr lang="en-GB" altLang="en-US"/>
          </a:p>
          <a:p>
            <a:pPr lvl="4"/>
            <a:r>
              <a:rPr lang="en-GB" altLang="en-US" err="1"/>
              <a:t>Fünfte</a:t>
            </a:r>
            <a:r>
              <a:rPr lang="en-GB" altLang="en-US"/>
              <a:t> </a:t>
            </a:r>
            <a:r>
              <a:rPr lang="en-GB" altLang="en-US" err="1"/>
              <a:t>Ebene</a:t>
            </a:r>
            <a:endParaRPr lang="en-GB" altLang="en-US"/>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4FCEA7D4-6717-75E4-BF7E-8FA4EAE418B4}"/>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603548964"/>
      </p:ext>
    </p:extLst>
  </p:cSld>
  <p:clrMap bg1="lt1" tx1="dk1" bg2="lt2" tx2="dk2" accent1="accent1" accent2="accent2" accent3="accent3" accent4="accent4" accent5="accent5" accent6="accent6" hlink="hlink" folHlink="folHlink"/>
  <p:sldLayoutIdLst>
    <p:sldLayoutId id="2147486603" r:id="rId1"/>
    <p:sldLayoutId id="2147486604" r:id="rId2"/>
    <p:sldLayoutId id="2147486605" r:id="rId3"/>
    <p:sldLayoutId id="2147486606" r:id="rId4"/>
    <p:sldLayoutId id="2147486607" r:id="rId5"/>
    <p:sldLayoutId id="2147486608" r:id="rId6"/>
    <p:sldLayoutId id="2147486609" r:id="rId7"/>
    <p:sldLayoutId id="2147486610" r:id="rId8"/>
    <p:sldLayoutId id="2147486611" r:id="rId9"/>
    <p:sldLayoutId id="2147486612" r:id="rId10"/>
    <p:sldLayoutId id="2147486613" r:id="rId11"/>
    <p:sldLayoutId id="2147486614" r:id="rId12"/>
    <p:sldLayoutId id="2147486615" r:id="rId13"/>
    <p:sldLayoutId id="2147486616" r:id="rId14"/>
    <p:sldLayoutId id="2147486617" r:id="rId15"/>
    <p:sldLayoutId id="2147486618" r:id="rId16"/>
    <p:sldLayoutId id="2147486619" r:id="rId17"/>
    <p:sldLayoutId id="2147486620" r:id="rId18"/>
  </p:sldLayoutIdLst>
  <p:hf hd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9C6839-6057-40BB-85C8-712563DBD0B5}"/>
              </a:ext>
            </a:extLst>
          </p:cNvPr>
          <p:cNvGraphicFramePr>
            <a:graphicFrameLocks noChangeAspect="1"/>
          </p:cNvGraphicFramePr>
          <p:nvPr userDrawn="1">
            <p:custDataLst>
              <p:tags r:id="rId22"/>
            </p:custDataLst>
            <p:extLst>
              <p:ext uri="{D42A27DB-BD31-4B8C-83A1-F6EECF244321}">
                <p14:modId xmlns:p14="http://schemas.microsoft.com/office/powerpoint/2010/main" val="216084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08" imgH="408" progId="TCLayout.ActiveDocument.1">
                  <p:embed/>
                </p:oleObj>
              </mc:Choice>
              <mc:Fallback>
                <p:oleObj name="think-cell Slide" r:id="rId23" imgW="408" imgH="408" progId="TCLayout.ActiveDocument.1">
                  <p:embed/>
                  <p:pic>
                    <p:nvPicPr>
                      <p:cNvPr id="3" name="Object 2" hidden="1">
                        <a:extLst>
                          <a:ext uri="{FF2B5EF4-FFF2-40B4-BE49-F238E27FC236}">
                            <a16:creationId xmlns:a16="http://schemas.microsoft.com/office/drawing/2014/main" id="{269C6839-6057-40BB-85C8-712563DBD0B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C5D8185E-0F44-988C-3DEA-64B23F1C4D75}"/>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655116199"/>
      </p:ext>
    </p:extLst>
  </p:cSld>
  <p:clrMap bg1="lt1" tx1="dk1" bg2="lt2" tx2="dk2" accent1="accent1" accent2="accent2" accent3="accent3" accent4="accent4" accent5="accent5" accent6="accent6" hlink="hlink" folHlink="folHlink"/>
  <p:sldLayoutIdLst>
    <p:sldLayoutId id="2147486642" r:id="rId1"/>
    <p:sldLayoutId id="2147486643" r:id="rId2"/>
    <p:sldLayoutId id="2147486644" r:id="rId3"/>
    <p:sldLayoutId id="2147486645" r:id="rId4"/>
    <p:sldLayoutId id="2147486646" r:id="rId5"/>
    <p:sldLayoutId id="2147486647" r:id="rId6"/>
    <p:sldLayoutId id="2147486648" r:id="rId7"/>
    <p:sldLayoutId id="2147486649" r:id="rId8"/>
    <p:sldLayoutId id="2147486650" r:id="rId9"/>
    <p:sldLayoutId id="2147486651" r:id="rId10"/>
    <p:sldLayoutId id="2147486652" r:id="rId11"/>
    <p:sldLayoutId id="2147486653" r:id="rId12"/>
    <p:sldLayoutId id="2147486654" r:id="rId13"/>
    <p:sldLayoutId id="2147486655" r:id="rId14"/>
    <p:sldLayoutId id="2147486656" r:id="rId15"/>
    <p:sldLayoutId id="2147486657" r:id="rId16"/>
    <p:sldLayoutId id="2147486658" r:id="rId17"/>
    <p:sldLayoutId id="2147486659" r:id="rId18"/>
    <p:sldLayoutId id="2147486660" r:id="rId19"/>
    <p:sldLayoutId id="2147486661"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06332C-295C-4063-8341-E386C87FC7A6}"/>
              </a:ext>
            </a:extLst>
          </p:cNvPr>
          <p:cNvGraphicFramePr>
            <a:graphicFrameLocks noChangeAspect="1"/>
          </p:cNvGraphicFramePr>
          <p:nvPr userDrawn="1">
            <p:custDataLst>
              <p:tags r:id="rId22"/>
            </p:custDataLst>
            <p:extLst>
              <p:ext uri="{D42A27DB-BD31-4B8C-83A1-F6EECF244321}">
                <p14:modId xmlns:p14="http://schemas.microsoft.com/office/powerpoint/2010/main" val="82875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5" name="Object 4" hidden="1">
                        <a:extLst>
                          <a:ext uri="{FF2B5EF4-FFF2-40B4-BE49-F238E27FC236}">
                            <a16:creationId xmlns:a16="http://schemas.microsoft.com/office/drawing/2014/main" id="{7506332C-295C-4063-8341-E386C87FC7A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9034F5-8C7B-4FEB-B2D3-A3F51059A694}"/>
              </a:ext>
            </a:extLst>
          </p:cNvPr>
          <p:cNvSpPr/>
          <p:nvPr userDrawn="1">
            <p:custDataLst>
              <p:tags r:id="rId23"/>
            </p:custDataLst>
          </p:nvPr>
        </p:nvSpPr>
        <p:spPr bwMode="auto">
          <a:xfrm>
            <a:off x="0" y="0"/>
            <a:ext cx="158750" cy="158750"/>
          </a:xfrm>
          <a:prstGeom prst="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Rectangle 3"/>
          <p:cNvSpPr>
            <a:spLocks noChangeArrowheads="1"/>
          </p:cNvSpPr>
          <p:nvPr/>
        </p:nvSpPr>
        <p:spPr bwMode="auto">
          <a:xfrm>
            <a:off x="271464" y="77788"/>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4" y="1150939"/>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err="1"/>
              <a:t>Mastertextformat</a:t>
            </a:r>
            <a:r>
              <a:rPr lang="en-GB" altLang="en-US"/>
              <a:t> </a:t>
            </a:r>
            <a:r>
              <a:rPr lang="en-GB" altLang="en-US" err="1"/>
              <a:t>bearbeiten</a:t>
            </a:r>
            <a:endParaRPr lang="en-GB" altLang="en-US"/>
          </a:p>
          <a:p>
            <a:pPr lvl="1"/>
            <a:r>
              <a:rPr lang="en-GB" altLang="en-US" err="1"/>
              <a:t>Zweite</a:t>
            </a:r>
            <a:r>
              <a:rPr lang="en-GB" altLang="en-US"/>
              <a:t> </a:t>
            </a:r>
            <a:r>
              <a:rPr lang="en-GB" altLang="en-US" err="1"/>
              <a:t>Ebene</a:t>
            </a:r>
            <a:endParaRPr lang="en-GB" altLang="en-US"/>
          </a:p>
          <a:p>
            <a:pPr lvl="2"/>
            <a:r>
              <a:rPr lang="en-GB" altLang="en-US" err="1"/>
              <a:t>Dritte</a:t>
            </a:r>
            <a:r>
              <a:rPr lang="en-GB" altLang="en-US"/>
              <a:t> </a:t>
            </a:r>
            <a:r>
              <a:rPr lang="en-GB" altLang="en-US" err="1"/>
              <a:t>Ebene</a:t>
            </a:r>
            <a:endParaRPr lang="en-GB" altLang="en-US"/>
          </a:p>
          <a:p>
            <a:pPr lvl="3"/>
            <a:r>
              <a:rPr lang="en-GB" altLang="en-US" err="1"/>
              <a:t>Vierte</a:t>
            </a:r>
            <a:r>
              <a:rPr lang="en-GB" altLang="en-US"/>
              <a:t> </a:t>
            </a:r>
            <a:r>
              <a:rPr lang="en-GB" altLang="en-US" err="1"/>
              <a:t>Ebene</a:t>
            </a:r>
            <a:endParaRPr lang="en-GB" altLang="en-US"/>
          </a:p>
          <a:p>
            <a:pPr lvl="4"/>
            <a:r>
              <a:rPr lang="en-GB" altLang="en-US" err="1"/>
              <a:t>Fünfte</a:t>
            </a:r>
            <a:r>
              <a:rPr lang="en-GB" altLang="en-US"/>
              <a:t> </a:t>
            </a:r>
            <a:r>
              <a:rPr lang="en-GB" altLang="en-US" err="1"/>
              <a:t>Ebene</a:t>
            </a:r>
            <a:endParaRPr lang="en-GB" altLang="en-US"/>
          </a:p>
        </p:txBody>
      </p:sp>
      <p:sp>
        <p:nvSpPr>
          <p:cNvPr id="1028" name="Rectangle 5"/>
          <p:cNvSpPr>
            <a:spLocks noGrp="1" noChangeArrowheads="1"/>
          </p:cNvSpPr>
          <p:nvPr>
            <p:ph type="title"/>
          </p:nvPr>
        </p:nvSpPr>
        <p:spPr bwMode="auto">
          <a:xfrm>
            <a:off x="468314" y="573089"/>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6"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rgbClr val="FFFFFF"/>
                </a:solidFill>
              </a:rPr>
              <a:t>www.ecb.europa.eu © </a:t>
            </a:r>
          </a:p>
        </p:txBody>
      </p:sp>
      <p:sp>
        <p:nvSpPr>
          <p:cNvPr id="1032" name="Rectangle 2"/>
          <p:cNvSpPr>
            <a:spLocks noChangeArrowheads="1"/>
          </p:cNvSpPr>
          <p:nvPr/>
        </p:nvSpPr>
        <p:spPr bwMode="auto">
          <a:xfrm>
            <a:off x="0" y="-25916"/>
            <a:ext cx="9144000" cy="369332"/>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3" name="TextBox 2">
            <a:extLst>
              <a:ext uri="{FF2B5EF4-FFF2-40B4-BE49-F238E27FC236}">
                <a16:creationId xmlns:a16="http://schemas.microsoft.com/office/drawing/2014/main" id="{5A3DF06D-32AD-7543-AAE8-4C1DCF478F02}"/>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239739955"/>
      </p:ext>
    </p:extLst>
  </p:cSld>
  <p:clrMap bg1="lt1" tx1="dk1" bg2="lt2" tx2="dk2" accent1="accent1" accent2="accent2" accent3="accent3" accent4="accent4" accent5="accent5" accent6="accent6" hlink="hlink" folHlink="folHlink"/>
  <p:sldLayoutIdLst>
    <p:sldLayoutId id="2147486663" r:id="rId1"/>
    <p:sldLayoutId id="2147486664" r:id="rId2"/>
    <p:sldLayoutId id="2147486665" r:id="rId3"/>
    <p:sldLayoutId id="2147486666" r:id="rId4"/>
    <p:sldLayoutId id="2147486667" r:id="rId5"/>
    <p:sldLayoutId id="2147486668" r:id="rId6"/>
    <p:sldLayoutId id="2147486669" r:id="rId7"/>
    <p:sldLayoutId id="2147486670" r:id="rId8"/>
    <p:sldLayoutId id="2147486671" r:id="rId9"/>
    <p:sldLayoutId id="2147486672" r:id="rId10"/>
    <p:sldLayoutId id="2147486673" r:id="rId11"/>
    <p:sldLayoutId id="2147486674" r:id="rId12"/>
    <p:sldLayoutId id="2147486675" r:id="rId13"/>
    <p:sldLayoutId id="2147486676" r:id="rId14"/>
    <p:sldLayoutId id="2147486677" r:id="rId15"/>
    <p:sldLayoutId id="2147486678" r:id="rId16"/>
    <p:sldLayoutId id="2147486679" r:id="rId17"/>
    <p:sldLayoutId id="2147486680" r:id="rId18"/>
    <p:sldLayoutId id="2147486681" r:id="rId19"/>
    <p:sldLayoutId id="2147486683" r:id="rId20"/>
  </p:sldLayoutIdLst>
  <p:hf hdr="0" ft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189"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378"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566"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754"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42" algn="l" rtl="0" eaLnBrk="0" fontAlgn="base" hangingPunct="0">
        <a:spcBef>
          <a:spcPct val="0"/>
        </a:spcBef>
        <a:spcAft>
          <a:spcPct val="0"/>
        </a:spcAft>
        <a:defRPr>
          <a:solidFill>
            <a:schemeClr val="tx1"/>
          </a:solidFill>
          <a:latin typeface="+mn-lt"/>
          <a:cs typeface="+mn-cs"/>
        </a:defRPr>
      </a:lvl2pPr>
      <a:lvl3pPr marL="596885" algn="l" rtl="0" eaLnBrk="0" fontAlgn="base" hangingPunct="0">
        <a:spcBef>
          <a:spcPct val="0"/>
        </a:spcBef>
        <a:spcAft>
          <a:spcPct val="0"/>
        </a:spcAft>
        <a:defRPr sz="1600">
          <a:solidFill>
            <a:schemeClr val="tx1"/>
          </a:solidFill>
          <a:latin typeface="+mn-lt"/>
          <a:cs typeface="+mn-cs"/>
        </a:defRPr>
      </a:lvl3pPr>
      <a:lvl4pPr marL="914378" algn="l" rtl="0" eaLnBrk="0" fontAlgn="base" hangingPunct="0">
        <a:spcBef>
          <a:spcPct val="0"/>
        </a:spcBef>
        <a:spcAft>
          <a:spcPct val="0"/>
        </a:spcAft>
        <a:defRPr sz="1600">
          <a:solidFill>
            <a:schemeClr val="tx1"/>
          </a:solidFill>
          <a:latin typeface="+mn-lt"/>
          <a:cs typeface="+mn-cs"/>
        </a:defRPr>
      </a:lvl4pPr>
      <a:lvl5pPr marL="1219169"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151"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339"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527"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716" indent="-303206"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lumMod val="10000"/>
          </a:schemeClr>
        </a:solidFill>
        <a:effectLst/>
      </p:bgPr>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02C8430-6771-405F-B54E-FA5371EF85E0}"/>
              </a:ext>
            </a:extLst>
          </p:cNvPr>
          <p:cNvGraphicFramePr>
            <a:graphicFrameLocks noChangeAspect="1"/>
          </p:cNvGraphicFramePr>
          <p:nvPr userDrawn="1">
            <p:custDataLst>
              <p:tags r:id="rId10"/>
            </p:custDataLst>
            <p:extLst>
              <p:ext uri="{D42A27DB-BD31-4B8C-83A1-F6EECF244321}">
                <p14:modId xmlns:p14="http://schemas.microsoft.com/office/powerpoint/2010/main" val="369255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15" name="Object 14" hidden="1">
                        <a:extLst>
                          <a:ext uri="{FF2B5EF4-FFF2-40B4-BE49-F238E27FC236}">
                            <a16:creationId xmlns:a16="http://schemas.microsoft.com/office/drawing/2014/main" id="{702C8430-6771-405F-B54E-FA5371EF85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6C7F94-AC2B-4ABA-8168-9102B651ED5D}"/>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499E8B4-649E-4A8B-B6EE-CC6C44EF5A3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4133B5-720F-4407-9AAB-3B5E07088D3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bg2">
                    <a:lumMod val="75000"/>
                  </a:schemeClr>
                </a:solidFill>
              </a:defRPr>
            </a:lvl1pPr>
          </a:lstStyle>
          <a:p>
            <a:r>
              <a:rPr lang="en-US"/>
              <a:t>Date</a:t>
            </a:r>
          </a:p>
        </p:txBody>
      </p:sp>
      <p:sp>
        <p:nvSpPr>
          <p:cNvPr id="5" name="Footer Placeholder 4">
            <a:extLst>
              <a:ext uri="{FF2B5EF4-FFF2-40B4-BE49-F238E27FC236}">
                <a16:creationId xmlns:a16="http://schemas.microsoft.com/office/drawing/2014/main" id="{2091AE36-FE6A-4E21-B178-40F00D0FF50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bg2">
                    <a:lumMod val="75000"/>
                  </a:schemeClr>
                </a:solidFill>
              </a:defRPr>
            </a:lvl1pPr>
          </a:lstStyle>
          <a:p>
            <a:r>
              <a:rPr lang="en-US"/>
              <a:t>Your Footer Here</a:t>
            </a:r>
          </a:p>
        </p:txBody>
      </p:sp>
      <p:sp>
        <p:nvSpPr>
          <p:cNvPr id="6" name="Slide Number Placeholder 5">
            <a:extLst>
              <a:ext uri="{FF2B5EF4-FFF2-40B4-BE49-F238E27FC236}">
                <a16:creationId xmlns:a16="http://schemas.microsoft.com/office/drawing/2014/main" id="{A6154408-120E-4EFA-AC50-C50B6469D220}"/>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bg2">
                    <a:lumMod val="75000"/>
                  </a:schemeClr>
                </a:solidFill>
              </a:defRPr>
            </a:lvl1pPr>
          </a:lstStyle>
          <a:p>
            <a:fld id="{672B7600-67E3-4D97-B453-880E2742B982}" type="slidenum">
              <a:rPr lang="en-US" smtClean="0"/>
              <a:pPr/>
              <a:t>‹#›</a:t>
            </a:fld>
            <a:endParaRPr lang="en-US"/>
          </a:p>
        </p:txBody>
      </p:sp>
      <p:sp>
        <p:nvSpPr>
          <p:cNvPr id="7" name="Rectangle 6">
            <a:extLst>
              <a:ext uri="{FF2B5EF4-FFF2-40B4-BE49-F238E27FC236}">
                <a16:creationId xmlns:a16="http://schemas.microsoft.com/office/drawing/2014/main" id="{9793780E-9A94-4D66-9FC2-734AC5AEF5F1}"/>
              </a:ext>
            </a:extLst>
          </p:cNvPr>
          <p:cNvSpPr/>
          <p:nvPr userDrawn="1"/>
        </p:nvSpPr>
        <p:spPr>
          <a:xfrm>
            <a:off x="-9526" y="5255420"/>
            <a:ext cx="1245854" cy="219291"/>
          </a:xfrm>
          <a:prstGeom prst="rect">
            <a:avLst/>
          </a:prstGeom>
        </p:spPr>
        <p:txBody>
          <a:bodyPr wrap="none">
            <a:spAutoFit/>
          </a:bodyPr>
          <a:lstStyle/>
          <a:p>
            <a:r>
              <a:rPr lang="en-US" sz="825" b="0" i="0">
                <a:solidFill>
                  <a:schemeClr val="accent1"/>
                </a:solidFill>
                <a:effectLst/>
                <a:latin typeface="Open Sans" panose="020B0606030504020204" pitchFamily="34" charset="0"/>
              </a:rPr>
              <a:t>© </a:t>
            </a:r>
            <a:r>
              <a:rPr lang="en-US" sz="825" b="0" i="0" u="none" strike="noStrike">
                <a:solidFill>
                  <a:schemeClr val="accent1"/>
                </a:solidFill>
                <a:effectLst/>
                <a:latin typeface="Open Sans" panose="020B0606030504020204" pitchFamily="34" charset="0"/>
                <a:hlinkClick r:id="rId13" tooltip="PresentationGo!">
                  <a:extLst>
                    <a:ext uri="{A12FA001-AC4F-418D-AE19-62706E023703}">
                      <ahyp:hlinkClr xmlns:ahyp="http://schemas.microsoft.com/office/drawing/2018/hyperlinkcolor" val="tx"/>
                    </a:ext>
                  </a:extLst>
                </a:hlinkClick>
              </a:rPr>
              <a:t>presentationgo.com</a:t>
            </a:r>
            <a:endParaRPr lang="en-US" sz="825">
              <a:solidFill>
                <a:schemeClr val="accent1"/>
              </a:solidFill>
              <a:latin typeface="Calibri" panose="020F0502020204030204" pitchFamily="34" charset="0"/>
            </a:endParaRPr>
          </a:p>
        </p:txBody>
      </p:sp>
      <p:grpSp>
        <p:nvGrpSpPr>
          <p:cNvPr id="8" name="Group 7">
            <a:extLst>
              <a:ext uri="{FF2B5EF4-FFF2-40B4-BE49-F238E27FC236}">
                <a16:creationId xmlns:a16="http://schemas.microsoft.com/office/drawing/2014/main" id="{7432F9B4-C534-44E7-8E53-6B3CF87C8383}"/>
              </a:ext>
            </a:extLst>
          </p:cNvPr>
          <p:cNvGrpSpPr/>
          <p:nvPr userDrawn="1"/>
        </p:nvGrpSpPr>
        <p:grpSpPr>
          <a:xfrm>
            <a:off x="-1241181" y="-12491"/>
            <a:ext cx="1210630" cy="482192"/>
            <a:chOff x="-2096383" y="21447"/>
            <a:chExt cx="1614174" cy="642922"/>
          </a:xfrm>
        </p:grpSpPr>
        <p:sp>
          <p:nvSpPr>
            <p:cNvPr id="9" name="TextBox 8">
              <a:extLst>
                <a:ext uri="{FF2B5EF4-FFF2-40B4-BE49-F238E27FC236}">
                  <a16:creationId xmlns:a16="http://schemas.microsoft.com/office/drawing/2014/main" id="{86BD643E-9383-4DCE-97E0-18B6179C2E33}"/>
                </a:ext>
              </a:extLst>
            </p:cNvPr>
            <p:cNvSpPr txBox="1"/>
            <p:nvPr userDrawn="1"/>
          </p:nvSpPr>
          <p:spPr>
            <a:xfrm>
              <a:off x="-2096383" y="21447"/>
              <a:ext cx="408659" cy="276999"/>
            </a:xfrm>
            <a:prstGeom prst="rect">
              <a:avLst/>
            </a:prstGeom>
            <a:noFill/>
          </p:spPr>
          <p:txBody>
            <a:bodyPr wrap="none" rtlCol="0">
              <a:spAutoFit/>
            </a:bodyPr>
            <a:lstStyle/>
            <a:p>
              <a:r>
                <a:rPr lang="en-US" sz="750">
                  <a:latin typeface="Open Sans" panose="020B0606030504020204" pitchFamily="34" charset="0"/>
                  <a:ea typeface="Open Sans" panose="020B0606030504020204" pitchFamily="34" charset="0"/>
                  <a:cs typeface="Open Sans" panose="020B0606030504020204" pitchFamily="34" charset="0"/>
                </a:rPr>
                <a:t>By:</a:t>
              </a:r>
            </a:p>
          </p:txBody>
        </p:sp>
        <p:sp>
          <p:nvSpPr>
            <p:cNvPr id="10" name="TextBox 9">
              <a:extLst>
                <a:ext uri="{FF2B5EF4-FFF2-40B4-BE49-F238E27FC236}">
                  <a16:creationId xmlns:a16="http://schemas.microsoft.com/office/drawing/2014/main" id="{3C47BF03-421F-44AE-8D61-516BA442BCFD}"/>
                </a:ext>
              </a:extLst>
            </p:cNvPr>
            <p:cNvSpPr txBox="1"/>
            <p:nvPr userDrawn="1"/>
          </p:nvSpPr>
          <p:spPr>
            <a:xfrm>
              <a:off x="-1002009" y="387370"/>
              <a:ext cx="519800" cy="276999"/>
            </a:xfrm>
            <a:prstGeom prst="rect">
              <a:avLst/>
            </a:prstGeom>
            <a:noFill/>
          </p:spPr>
          <p:txBody>
            <a:bodyPr wrap="none" rtlCol="0">
              <a:spAutoFit/>
            </a:bodyPr>
            <a:lstStyle/>
            <a:p>
              <a:r>
                <a:rPr lang="en-US" sz="750">
                  <a:latin typeface="Open Sans" panose="020B0606030504020204" pitchFamily="34" charset="0"/>
                  <a:ea typeface="Open Sans" panose="020B0606030504020204" pitchFamily="34" charset="0"/>
                  <a:cs typeface="Open Sans" panose="020B0606030504020204" pitchFamily="34" charset="0"/>
                </a:rPr>
                <a:t>.com</a:t>
              </a:r>
            </a:p>
          </p:txBody>
        </p:sp>
        <p:pic>
          <p:nvPicPr>
            <p:cNvPr id="11" name="Picture 10">
              <a:extLst>
                <a:ext uri="{FF2B5EF4-FFF2-40B4-BE49-F238E27FC236}">
                  <a16:creationId xmlns:a16="http://schemas.microsoft.com/office/drawing/2014/main" id="{A25AF704-0297-4965-ABDA-DCACCBDEC43E}"/>
                </a:ext>
              </a:extLst>
            </p:cNvPr>
            <p:cNvPicPr>
              <a:picLocks noChangeAspect="1"/>
            </p:cNvPicPr>
            <p:nvPr userDrawn="1"/>
          </p:nvPicPr>
          <p:blipFill>
            <a:blip r:embed="rId14"/>
            <a:stretch>
              <a:fillRect/>
            </a:stretch>
          </p:blipFill>
          <p:spPr>
            <a:xfrm>
              <a:off x="-2018604" y="234547"/>
              <a:ext cx="1405251" cy="185944"/>
            </a:xfrm>
            <a:prstGeom prst="rect">
              <a:avLst/>
            </a:prstGeom>
          </p:spPr>
        </p:pic>
      </p:grpSp>
      <p:sp>
        <p:nvSpPr>
          <p:cNvPr id="13" name="TextBox 12">
            <a:extLst>
              <a:ext uri="{FF2B5EF4-FFF2-40B4-BE49-F238E27FC236}">
                <a16:creationId xmlns:a16="http://schemas.microsoft.com/office/drawing/2014/main" id="{884D3E51-13D4-496D-24CA-169E50CCF943}"/>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391246857"/>
      </p:ext>
    </p:extLst>
  </p:cSld>
  <p:clrMap bg1="lt1" tx1="dk1" bg2="lt2" tx2="dk2" accent1="accent1" accent2="accent2" accent3="accent3" accent4="accent4" accent5="accent5" accent6="accent6" hlink="hlink" folHlink="folHlink"/>
  <p:sldLayoutIdLst>
    <p:sldLayoutId id="2147486685" r:id="rId1"/>
    <p:sldLayoutId id="2147486686" r:id="rId2"/>
    <p:sldLayoutId id="2147486687" r:id="rId3"/>
    <p:sldLayoutId id="2147486688" r:id="rId4"/>
    <p:sldLayoutId id="2147486689" r:id="rId5"/>
    <p:sldLayoutId id="2147486690" r:id="rId6"/>
    <p:sldLayoutId id="2147486691" r:id="rId7"/>
    <p:sldLayoutId id="2147486692" r:id="rId8"/>
  </p:sldLayoutIdLst>
  <p:hf hdr="0"/>
  <p:txStyles>
    <p:titleStyle>
      <a:lvl1pPr algn="l" defTabSz="685800" rtl="0" eaLnBrk="1" latinLnBrk="0" hangingPunct="1">
        <a:lnSpc>
          <a:spcPct val="90000"/>
        </a:lnSpc>
        <a:spcBef>
          <a:spcPct val="0"/>
        </a:spcBef>
        <a:buNone/>
        <a:defRPr sz="3300" kern="1200">
          <a:solidFill>
            <a:schemeClr val="accent4"/>
          </a:solidFill>
          <a:latin typeface="+mj-lt"/>
          <a:ea typeface="+mj-ea"/>
          <a:cs typeface="+mj-cs"/>
        </a:defRPr>
      </a:lvl1pPr>
    </p:titleStyle>
    <p:bodyStyle>
      <a:lvl1pPr marL="171450" indent="-171450" algn="l" defTabSz="685800" rtl="0" eaLnBrk="1" latinLnBrk="0" hangingPunct="1">
        <a:lnSpc>
          <a:spcPct val="90000"/>
        </a:lnSpc>
        <a:spcBef>
          <a:spcPts val="750"/>
        </a:spcBef>
        <a:spcAft>
          <a:spcPts val="900"/>
        </a:spcAft>
        <a:buFont typeface="Arial" panose="020B0604020202020204" pitchFamily="34" charset="0"/>
        <a:buChar char="•"/>
        <a:defRPr sz="2100" kern="1200">
          <a:solidFill>
            <a:schemeClr val="bg2">
              <a:lumMod val="90000"/>
            </a:schemeClr>
          </a:solidFill>
          <a:latin typeface="+mn-lt"/>
          <a:ea typeface="+mn-ea"/>
          <a:cs typeface="+mn-cs"/>
        </a:defRPr>
      </a:lvl1pPr>
      <a:lvl2pPr marL="514350" indent="-171450" algn="l" defTabSz="685800" rtl="0" eaLnBrk="1" latinLnBrk="0" hangingPunct="1">
        <a:lnSpc>
          <a:spcPct val="90000"/>
        </a:lnSpc>
        <a:spcBef>
          <a:spcPts val="375"/>
        </a:spcBef>
        <a:spcAft>
          <a:spcPts val="900"/>
        </a:spcAft>
        <a:buFont typeface="Arial" panose="020B0604020202020204" pitchFamily="34" charset="0"/>
        <a:buChar char="•"/>
        <a:defRPr sz="1800" kern="1200">
          <a:solidFill>
            <a:schemeClr val="bg2">
              <a:lumMod val="90000"/>
            </a:schemeClr>
          </a:solidFill>
          <a:latin typeface="+mn-lt"/>
          <a:ea typeface="+mn-ea"/>
          <a:cs typeface="+mn-cs"/>
        </a:defRPr>
      </a:lvl2pPr>
      <a:lvl3pPr marL="857250" indent="-171450" algn="l" defTabSz="685800" rtl="0" eaLnBrk="1" latinLnBrk="0" hangingPunct="1">
        <a:lnSpc>
          <a:spcPct val="90000"/>
        </a:lnSpc>
        <a:spcBef>
          <a:spcPts val="375"/>
        </a:spcBef>
        <a:spcAft>
          <a:spcPts val="900"/>
        </a:spcAft>
        <a:buFont typeface="Arial" panose="020B0604020202020204" pitchFamily="34" charset="0"/>
        <a:buChar char="•"/>
        <a:defRPr sz="1500" kern="1200">
          <a:solidFill>
            <a:schemeClr val="bg2">
              <a:lumMod val="90000"/>
            </a:schemeClr>
          </a:solidFill>
          <a:latin typeface="+mn-lt"/>
          <a:ea typeface="+mn-ea"/>
          <a:cs typeface="+mn-cs"/>
        </a:defRPr>
      </a:lvl3pPr>
      <a:lvl4pPr marL="1200150" indent="-171450" algn="l" defTabSz="685800" rtl="0" eaLnBrk="1" latinLnBrk="0" hangingPunct="1">
        <a:lnSpc>
          <a:spcPct val="90000"/>
        </a:lnSpc>
        <a:spcBef>
          <a:spcPts val="375"/>
        </a:spcBef>
        <a:spcAft>
          <a:spcPts val="900"/>
        </a:spcAft>
        <a:buFont typeface="Arial" panose="020B0604020202020204" pitchFamily="34" charset="0"/>
        <a:buChar char="•"/>
        <a:defRPr sz="1350" kern="1200">
          <a:solidFill>
            <a:schemeClr val="bg2">
              <a:lumMod val="90000"/>
            </a:schemeClr>
          </a:solidFill>
          <a:latin typeface="+mn-lt"/>
          <a:ea typeface="+mn-ea"/>
          <a:cs typeface="+mn-cs"/>
        </a:defRPr>
      </a:lvl4pPr>
      <a:lvl5pPr marL="1543050" indent="-171450" algn="l" defTabSz="685800" rtl="0" eaLnBrk="1" latinLnBrk="0" hangingPunct="1">
        <a:lnSpc>
          <a:spcPct val="90000"/>
        </a:lnSpc>
        <a:spcBef>
          <a:spcPts val="375"/>
        </a:spcBef>
        <a:spcAft>
          <a:spcPts val="900"/>
        </a:spcAft>
        <a:buFont typeface="Arial" panose="020B0604020202020204" pitchFamily="34" charset="0"/>
        <a:buChar char="•"/>
        <a:defRPr sz="1350" kern="1200">
          <a:solidFill>
            <a:schemeClr val="bg2">
              <a:lumMod val="9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2754415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E10B70BA-95F2-F52E-F3E3-8E2B16ACCA52}"/>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2680187512"/>
      </p:ext>
    </p:extLst>
  </p:cSld>
  <p:clrMap bg1="lt1" tx1="dk1" bg2="lt2" tx2="dk2" accent1="accent1" accent2="accent2" accent3="accent3" accent4="accent4" accent5="accent5" accent6="accent6" hlink="hlink" folHlink="folHlink"/>
  <p:sldLayoutIdLst>
    <p:sldLayoutId id="2147486695" r:id="rId1"/>
    <p:sldLayoutId id="2147486696" r:id="rId2"/>
    <p:sldLayoutId id="2147486697" r:id="rId3"/>
    <p:sldLayoutId id="2147486698" r:id="rId4"/>
    <p:sldLayoutId id="2147486699" r:id="rId5"/>
    <p:sldLayoutId id="2147486700" r:id="rId6"/>
    <p:sldLayoutId id="2147486701" r:id="rId7"/>
    <p:sldLayoutId id="2147486702" r:id="rId8"/>
    <p:sldLayoutId id="2147486703" r:id="rId9"/>
    <p:sldLayoutId id="2147486704" r:id="rId10"/>
    <p:sldLayoutId id="2147486705" r:id="rId11"/>
    <p:sldLayoutId id="2147486706" r:id="rId12"/>
    <p:sldLayoutId id="2147486707" r:id="rId13"/>
    <p:sldLayoutId id="2147486708" r:id="rId14"/>
    <p:sldLayoutId id="2147486709" r:id="rId15"/>
    <p:sldLayoutId id="2147486710" r:id="rId16"/>
    <p:sldLayoutId id="2147486711" r:id="rId17"/>
    <p:sldLayoutId id="2147486712" r:id="rId18"/>
    <p:sldLayoutId id="2147486713"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AA49BF-C098-4B30-884A-C2382F49B1F9}"/>
              </a:ext>
            </a:extLst>
          </p:cNvPr>
          <p:cNvGraphicFramePr>
            <a:graphicFrameLocks noChangeAspect="1"/>
          </p:cNvGraphicFramePr>
          <p:nvPr userDrawn="1">
            <p:custDataLst>
              <p:tags r:id="rId21"/>
            </p:custDataLst>
            <p:extLst>
              <p:ext uri="{D42A27DB-BD31-4B8C-83A1-F6EECF244321}">
                <p14:modId xmlns:p14="http://schemas.microsoft.com/office/powerpoint/2010/main" val="101594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1" progId="TCLayout.ActiveDocument.1">
                  <p:embed/>
                </p:oleObj>
              </mc:Choice>
              <mc:Fallback>
                <p:oleObj name="think-cell Slide" r:id="rId22" imgW="592" imgH="591" progId="TCLayout.ActiveDocument.1">
                  <p:embed/>
                  <p:pic>
                    <p:nvPicPr>
                      <p:cNvPr id="3" name="Object 2" hidden="1">
                        <a:extLst>
                          <a:ext uri="{FF2B5EF4-FFF2-40B4-BE49-F238E27FC236}">
                            <a16:creationId xmlns:a16="http://schemas.microsoft.com/office/drawing/2014/main" id="{48AA49BF-C098-4B30-884A-C2382F49B1F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4" name="TextBox 3">
            <a:extLst>
              <a:ext uri="{FF2B5EF4-FFF2-40B4-BE49-F238E27FC236}">
                <a16:creationId xmlns:a16="http://schemas.microsoft.com/office/drawing/2014/main" id="{F4ADAA6C-4D65-B447-00E7-E7DB60D577BD}"/>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1876456794"/>
      </p:ext>
    </p:extLst>
  </p:cSld>
  <p:clrMap bg1="lt1" tx1="dk1" bg2="lt2" tx2="dk2" accent1="accent1" accent2="accent2" accent3="accent3" accent4="accent4" accent5="accent5" accent6="accent6" hlink="hlink" folHlink="folHlink"/>
  <p:sldLayoutIdLst>
    <p:sldLayoutId id="2147486715" r:id="rId1"/>
    <p:sldLayoutId id="2147486716" r:id="rId2"/>
    <p:sldLayoutId id="2147486717" r:id="rId3"/>
    <p:sldLayoutId id="2147486718" r:id="rId4"/>
    <p:sldLayoutId id="2147486719" r:id="rId5"/>
    <p:sldLayoutId id="2147486720" r:id="rId6"/>
    <p:sldLayoutId id="2147486721" r:id="rId7"/>
    <p:sldLayoutId id="2147486722" r:id="rId8"/>
    <p:sldLayoutId id="2147486723" r:id="rId9"/>
    <p:sldLayoutId id="2147486724" r:id="rId10"/>
    <p:sldLayoutId id="2147486725" r:id="rId11"/>
    <p:sldLayoutId id="2147486726" r:id="rId12"/>
    <p:sldLayoutId id="2147486727" r:id="rId13"/>
    <p:sldLayoutId id="2147486728" r:id="rId14"/>
    <p:sldLayoutId id="2147486729" r:id="rId15"/>
    <p:sldLayoutId id="2147486730" r:id="rId16"/>
    <p:sldLayoutId id="2147486731" r:id="rId17"/>
    <p:sldLayoutId id="2147486732" r:id="rId18"/>
    <p:sldLayoutId id="2147486733" r:id="rId19"/>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4035947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216" imgH="216" progId="TCLayout.ActiveDocument.1">
                  <p:embed/>
                </p:oleObj>
              </mc:Choice>
              <mc:Fallback>
                <p:oleObj name="think-cell Slide" r:id="rId24" imgW="216" imgH="216" progId="TCLayout.ActiveDocument.1">
                  <p:embed/>
                  <p:pic>
                    <p:nvPicPr>
                      <p:cNvPr id="3" name="Object 2"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bwMode="auto">
          <a:xfrm>
            <a:off x="0" y="-105291"/>
            <a:ext cx="184731" cy="369332"/>
          </a:xfrm>
          <a:prstGeom prst="rect">
            <a:avLst/>
          </a:prstGeom>
          <a:noFill/>
          <a:ln w="9525" cap="flat" cmpd="sng" algn="ctr">
            <a:solidFill>
              <a:srgbClr val="FF0000"/>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l" defTabSz="914400" rtl="0" eaLnBrk="0" fontAlgn="base" latinLnBrk="0" hangingPunct="0">
              <a:lnSpc>
                <a:spcPct val="100000"/>
              </a:lnSpc>
              <a:spcBef>
                <a:spcPct val="50000"/>
              </a:spcBef>
              <a:spcAft>
                <a:spcPct val="0"/>
              </a:spcAft>
              <a:buClrTx/>
              <a:buSzTx/>
              <a:buFontTx/>
              <a:buNone/>
              <a:tabLst/>
            </a:pPr>
            <a:endParaRPr kumimoji="0" lang="en-GB" sz="4000" b="0" i="0" u="none" strike="noStrike" cap="none" normalizeH="0" baseline="0">
              <a:ln>
                <a:noFill/>
              </a:ln>
              <a:solidFill>
                <a:schemeClr val="tx1"/>
              </a:solidFill>
              <a:effectLst/>
              <a:latin typeface="Arial"/>
              <a:ea typeface="+mj-ea"/>
              <a:cs typeface="Arial"/>
              <a:sym typeface="Arial"/>
            </a:endParaRPr>
          </a:p>
        </p:txBody>
      </p:sp>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sp>
        <p:nvSpPr>
          <p:cNvPr id="5" name="TextBox 4">
            <a:extLst>
              <a:ext uri="{FF2B5EF4-FFF2-40B4-BE49-F238E27FC236}">
                <a16:creationId xmlns:a16="http://schemas.microsoft.com/office/drawing/2014/main" id="{E3F6FB3F-56A6-2FA1-5CAE-139BFB34AB37}"/>
              </a:ext>
            </a:extLst>
          </p:cNvPr>
          <p:cNvSpPr txBox="1"/>
          <p:nvPr userDrawn="1">
            <p:extLst>
              <p:ext uri="{1162E1C5-73C7-4A58-AE30-91384D911F3F}">
                <p184:classification xmlns:p184="http://schemas.microsoft.com/office/powerpoint/2018/4/main" val="hdr"/>
              </p:ext>
            </p:extLst>
          </p:nvPr>
        </p:nvSpPr>
        <p:spPr>
          <a:xfrm>
            <a:off x="8374063" y="0"/>
            <a:ext cx="795337" cy="137160"/>
          </a:xfrm>
          <a:prstGeom prst="rect">
            <a:avLst/>
          </a:prstGeom>
        </p:spPr>
        <p:txBody>
          <a:bodyPr horzOverflow="overflow" lIns="0" tIns="0" rIns="0" bIns="0">
            <a:spAutoFit/>
          </a:bodyPr>
          <a:lstStyle/>
          <a:p>
            <a:pPr algn="l"/>
            <a:r>
              <a:rPr lang="en-GB" sz="900">
                <a:solidFill>
                  <a:srgbClr val="000000"/>
                </a:solidFill>
                <a:latin typeface="Calibri" panose="020F0502020204030204" pitchFamily="34" charset="0"/>
                <a:cs typeface="Calibri" panose="020F0502020204030204" pitchFamily="34" charset="0"/>
              </a:rPr>
              <a:t>ECB-RESTRICTED</a:t>
            </a:r>
          </a:p>
        </p:txBody>
      </p:sp>
    </p:spTree>
    <p:extLst>
      <p:ext uri="{BB962C8B-B14F-4D97-AF65-F5344CB8AC3E}">
        <p14:creationId xmlns:p14="http://schemas.microsoft.com/office/powerpoint/2010/main" val="3185917273"/>
      </p:ext>
    </p:extLst>
  </p:cSld>
  <p:clrMap bg1="lt1" tx1="dk1" bg2="lt2" tx2="dk2" accent1="accent1" accent2="accent2" accent3="accent3" accent4="accent4" accent5="accent5" accent6="accent6" hlink="hlink" folHlink="folHlink"/>
  <p:sldLayoutIdLst>
    <p:sldLayoutId id="2147486735" r:id="rId1"/>
    <p:sldLayoutId id="2147486736" r:id="rId2"/>
    <p:sldLayoutId id="2147486737" r:id="rId3"/>
    <p:sldLayoutId id="2147486738" r:id="rId4"/>
    <p:sldLayoutId id="2147486739" r:id="rId5"/>
    <p:sldLayoutId id="2147486740" r:id="rId6"/>
    <p:sldLayoutId id="2147486741" r:id="rId7"/>
    <p:sldLayoutId id="2147486742" r:id="rId8"/>
    <p:sldLayoutId id="2147486743" r:id="rId9"/>
    <p:sldLayoutId id="2147486744" r:id="rId10"/>
    <p:sldLayoutId id="2147486745" r:id="rId11"/>
    <p:sldLayoutId id="2147486746" r:id="rId12"/>
    <p:sldLayoutId id="2147486747" r:id="rId13"/>
    <p:sldLayoutId id="2147486748" r:id="rId14"/>
    <p:sldLayoutId id="2147486749" r:id="rId15"/>
    <p:sldLayoutId id="2147486750" r:id="rId16"/>
    <p:sldLayoutId id="2147486751" r:id="rId17"/>
    <p:sldLayoutId id="2147486752" r:id="rId18"/>
    <p:sldLayoutId id="2147486753" r:id="rId19"/>
    <p:sldLayoutId id="2147486754" r:id="rId20"/>
  </p:sldLayoutIdLst>
  <p:hf hd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41.xml"/><Relationship Id="rId1" Type="http://schemas.openxmlformats.org/officeDocument/2006/relationships/tags" Target="../tags/tag438.xml"/><Relationship Id="rId6" Type="http://schemas.openxmlformats.org/officeDocument/2006/relationships/image" Target="../media/image12.emf"/><Relationship Id="rId5" Type="http://schemas.openxmlformats.org/officeDocument/2006/relationships/oleObject" Target="../embeddings/oleObject63.bin"/><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1.xml"/><Relationship Id="rId1" Type="http://schemas.openxmlformats.org/officeDocument/2006/relationships/tags" Target="../tags/tag439.xml"/><Relationship Id="rId6" Type="http://schemas.openxmlformats.org/officeDocument/2006/relationships/image" Target="../media/image32.png"/><Relationship Id="rId5" Type="http://schemas.openxmlformats.org/officeDocument/2006/relationships/image" Target="../media/image12.emf"/><Relationship Id="rId4" Type="http://schemas.openxmlformats.org/officeDocument/2006/relationships/oleObject" Target="../embeddings/oleObject6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1.xml"/><Relationship Id="rId1" Type="http://schemas.openxmlformats.org/officeDocument/2006/relationships/tags" Target="../tags/tag440.xml"/><Relationship Id="rId6" Type="http://schemas.openxmlformats.org/officeDocument/2006/relationships/image" Target="../media/image33.png"/><Relationship Id="rId5" Type="http://schemas.openxmlformats.org/officeDocument/2006/relationships/image" Target="../media/image12.emf"/><Relationship Id="rId4" Type="http://schemas.openxmlformats.org/officeDocument/2006/relationships/oleObject" Target="../embeddings/oleObject6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41.xml"/><Relationship Id="rId1" Type="http://schemas.openxmlformats.org/officeDocument/2006/relationships/tags" Target="../tags/tag441.xml"/><Relationship Id="rId6" Type="http://schemas.openxmlformats.org/officeDocument/2006/relationships/image" Target="../media/image34.png"/><Relationship Id="rId5" Type="http://schemas.openxmlformats.org/officeDocument/2006/relationships/image" Target="../media/image12.emf"/><Relationship Id="rId4" Type="http://schemas.openxmlformats.org/officeDocument/2006/relationships/oleObject" Target="../embeddings/oleObject6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1.xml"/><Relationship Id="rId1" Type="http://schemas.openxmlformats.org/officeDocument/2006/relationships/tags" Target="../tags/tag442.xml"/><Relationship Id="rId6" Type="http://schemas.openxmlformats.org/officeDocument/2006/relationships/image" Target="../media/image35.png"/><Relationship Id="rId5" Type="http://schemas.openxmlformats.org/officeDocument/2006/relationships/image" Target="../media/image12.emf"/><Relationship Id="rId4" Type="http://schemas.openxmlformats.org/officeDocument/2006/relationships/oleObject" Target="../embeddings/oleObject67.bin"/></Relationships>
</file>

<file path=ppt/slides/_rels/slide1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339.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3.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slideLayout" Target="../slideLayouts/slideLayout341.xml"/><Relationship Id="rId1" Type="http://schemas.openxmlformats.org/officeDocument/2006/relationships/tags" Target="../tags/tag443.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12.emf"/><Relationship Id="rId10" Type="http://schemas.openxmlformats.org/officeDocument/2006/relationships/image" Target="../media/image40.png"/><Relationship Id="rId4" Type="http://schemas.openxmlformats.org/officeDocument/2006/relationships/oleObject" Target="../embeddings/oleObject68.bin"/><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4.xml"/><Relationship Id="rId7" Type="http://schemas.openxmlformats.org/officeDocument/2006/relationships/image" Target="../media/image44.png"/><Relationship Id="rId2" Type="http://schemas.openxmlformats.org/officeDocument/2006/relationships/slideLayout" Target="../slideLayouts/slideLayout341.xml"/><Relationship Id="rId1" Type="http://schemas.openxmlformats.org/officeDocument/2006/relationships/tags" Target="../tags/tag444.xml"/><Relationship Id="rId6" Type="http://schemas.openxmlformats.org/officeDocument/2006/relationships/image" Target="../media/image43.png"/><Relationship Id="rId11" Type="http://schemas.openxmlformats.org/officeDocument/2006/relationships/image" Target="../media/image47.png"/><Relationship Id="rId5" Type="http://schemas.openxmlformats.org/officeDocument/2006/relationships/image" Target="../media/image12.emf"/><Relationship Id="rId10" Type="http://schemas.openxmlformats.org/officeDocument/2006/relationships/image" Target="../media/image46.png"/><Relationship Id="rId4" Type="http://schemas.openxmlformats.org/officeDocument/2006/relationships/oleObject" Target="../embeddings/oleObject69.bin"/><Relationship Id="rId9"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339.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41.xml"/><Relationship Id="rId1" Type="http://schemas.openxmlformats.org/officeDocument/2006/relationships/tags" Target="../tags/tag445.xml"/><Relationship Id="rId5" Type="http://schemas.openxmlformats.org/officeDocument/2006/relationships/image" Target="../media/image12.emf"/><Relationship Id="rId4" Type="http://schemas.openxmlformats.org/officeDocument/2006/relationships/oleObject" Target="../embeddings/oleObject70.bin"/></Relationships>
</file>

<file path=ppt/slides/_rels/slide2.xml.rels><?xml version="1.0" encoding="UTF-8" standalone="yes"?>
<Relationships xmlns="http://schemas.openxmlformats.org/package/2006/relationships"><Relationship Id="rId8" Type="http://schemas.openxmlformats.org/officeDocument/2006/relationships/tags" Target="../tags/tag434.xml"/><Relationship Id="rId3" Type="http://schemas.openxmlformats.org/officeDocument/2006/relationships/tags" Target="../tags/tag429.xml"/><Relationship Id="rId7" Type="http://schemas.openxmlformats.org/officeDocument/2006/relationships/tags" Target="../tags/tag433.xml"/><Relationship Id="rId2" Type="http://schemas.openxmlformats.org/officeDocument/2006/relationships/tags" Target="../tags/tag428.xml"/><Relationship Id="rId1" Type="http://schemas.openxmlformats.org/officeDocument/2006/relationships/tags" Target="../tags/tag427.xml"/><Relationship Id="rId6" Type="http://schemas.openxmlformats.org/officeDocument/2006/relationships/tags" Target="../tags/tag432.xml"/><Relationship Id="rId5" Type="http://schemas.openxmlformats.org/officeDocument/2006/relationships/tags" Target="../tags/tag431.xml"/><Relationship Id="rId10" Type="http://schemas.openxmlformats.org/officeDocument/2006/relationships/notesSlide" Target="../notesSlides/notesSlide2.xml"/><Relationship Id="rId4" Type="http://schemas.openxmlformats.org/officeDocument/2006/relationships/tags" Target="../tags/tag430.xml"/><Relationship Id="rId9"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41.xml"/><Relationship Id="rId1" Type="http://schemas.openxmlformats.org/officeDocument/2006/relationships/tags" Target="../tags/tag446.xml"/><Relationship Id="rId5" Type="http://schemas.openxmlformats.org/officeDocument/2006/relationships/image" Target="../media/image12.emf"/><Relationship Id="rId4" Type="http://schemas.openxmlformats.org/officeDocument/2006/relationships/oleObject" Target="../embeddings/oleObject71.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435.xml"/><Relationship Id="rId5" Type="http://schemas.openxmlformats.org/officeDocument/2006/relationships/image" Target="../media/image21.emf"/><Relationship Id="rId4" Type="http://schemas.openxmlformats.org/officeDocument/2006/relationships/oleObject" Target="../embeddings/oleObject6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41.xml"/><Relationship Id="rId1" Type="http://schemas.openxmlformats.org/officeDocument/2006/relationships/tags" Target="../tags/tag436.xml"/><Relationship Id="rId6" Type="http://schemas.openxmlformats.org/officeDocument/2006/relationships/image" Target="../media/image22.png"/><Relationship Id="rId5" Type="http://schemas.openxmlformats.org/officeDocument/2006/relationships/image" Target="../media/image12.emf"/><Relationship Id="rId4" Type="http://schemas.openxmlformats.org/officeDocument/2006/relationships/oleObject" Target="../embeddings/oleObject61.bin"/></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4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37.xml"/><Relationship Id="rId5" Type="http://schemas.openxmlformats.org/officeDocument/2006/relationships/image" Target="../media/image21.emf"/><Relationship Id="rId4" Type="http://schemas.openxmlformats.org/officeDocument/2006/relationships/oleObject" Target="../embeddings/oleObject62.bin"/></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6"/>
          <p:cNvSpPr>
            <a:spLocks noGrp="1"/>
          </p:cNvSpPr>
          <p:nvPr>
            <p:ph type="ctrTitle"/>
          </p:nvPr>
        </p:nvSpPr>
        <p:spPr>
          <a:xfrm>
            <a:off x="468314" y="1471700"/>
            <a:ext cx="3237054" cy="1458913"/>
          </a:xfrm>
        </p:spPr>
        <p:txBody>
          <a:bodyPr/>
          <a:lstStyle/>
          <a:p>
            <a:r>
              <a:rPr lang="en-US" altLang="en-US" sz="2800" b="1" dirty="0"/>
              <a:t>Interoperability of DPM 2.0 with SDMX</a:t>
            </a:r>
            <a:endParaRPr lang="en-GB" altLang="en-US" sz="2800" b="1" dirty="0"/>
          </a:p>
        </p:txBody>
      </p:sp>
      <p:sp>
        <p:nvSpPr>
          <p:cNvPr id="25607"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solidFill>
                  <a:schemeClr val="bg1"/>
                </a:solidFill>
              </a:rPr>
              <a:t>ECB-RESTRICTED</a:t>
            </a:r>
          </a:p>
        </p:txBody>
      </p:sp>
      <p:sp>
        <p:nvSpPr>
          <p:cNvPr id="25608" name="DocumentStatus"/>
          <p:cNvSpPr txBox="1">
            <a:spLocks noChangeArrowheads="1"/>
          </p:cNvSpPr>
          <p:nvPr/>
        </p:nvSpPr>
        <p:spPr bwMode="auto">
          <a:xfrm>
            <a:off x="6875463" y="2349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solidFill>
                  <a:schemeClr val="bg1"/>
                </a:solidFill>
              </a:rPr>
              <a:t>DRAFT</a:t>
            </a:r>
          </a:p>
        </p:txBody>
      </p:sp>
      <p:sp>
        <p:nvSpPr>
          <p:cNvPr id="25609" name="Text Placeholder 7"/>
          <p:cNvSpPr>
            <a:spLocks noGrp="1"/>
          </p:cNvSpPr>
          <p:nvPr>
            <p:ph type="body" sz="quarter" idx="4294967295"/>
          </p:nvPr>
        </p:nvSpPr>
        <p:spPr>
          <a:xfrm>
            <a:off x="308129" y="4408488"/>
            <a:ext cx="3062472" cy="666750"/>
          </a:xfrm>
        </p:spPr>
        <p:txBody>
          <a:bodyPr anchor="ctr"/>
          <a:lstStyle/>
          <a:p>
            <a:pPr>
              <a:spcBef>
                <a:spcPct val="0"/>
              </a:spcBef>
            </a:pPr>
            <a:r>
              <a:rPr lang="en-US" altLang="en-US" sz="1600" b="1" dirty="0">
                <a:solidFill>
                  <a:schemeClr val="bg1"/>
                </a:solidFill>
              </a:rPr>
              <a:t>9 October 2024</a:t>
            </a:r>
            <a:endParaRPr lang="en-GB" altLang="en-US" sz="1600" b="1" dirty="0">
              <a:solidFill>
                <a:schemeClr val="bg1"/>
              </a:solidFill>
            </a:endParaRPr>
          </a:p>
        </p:txBody>
      </p:sp>
      <p:pic>
        <p:nvPicPr>
          <p:cNvPr id="13" name="Picture Placeholder 6"/>
          <p:cNvPicPr>
            <a:picLocks noGrp="1" noChangeAspect="1"/>
          </p:cNvPicPr>
          <p:nvPr>
            <p:ph type="pic" sz="quarter" idx="22"/>
          </p:nvPr>
        </p:nvPicPr>
        <p:blipFill>
          <a:blip r:embed="rId3">
            <a:extLst>
              <a:ext uri="{28A0092B-C50C-407E-A947-70E740481C1C}">
                <a14:useLocalDpi xmlns:a14="http://schemas.microsoft.com/office/drawing/2010/main" val="0"/>
              </a:ext>
            </a:extLst>
          </a:blip>
          <a:srcRect t="24943" b="24943"/>
          <a:stretch>
            <a:fillRect/>
          </a:stretch>
        </p:blipFill>
        <p:spPr/>
      </p:pic>
      <p:sp>
        <p:nvSpPr>
          <p:cNvPr id="10" name="Classification"/>
          <p:cNvSpPr txBox="1">
            <a:spLocks noChangeArrowheads="1"/>
          </p:cNvSpPr>
          <p:nvPr/>
        </p:nvSpPr>
        <p:spPr bwMode="auto">
          <a:xfrm>
            <a:off x="6948663" y="964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solidFill>
                  <a:schemeClr val="bg1"/>
                </a:solidFill>
              </a:rPr>
              <a:t>ECB-RESTRICTED</a:t>
            </a:r>
          </a:p>
        </p:txBody>
      </p:sp>
      <p:sp>
        <p:nvSpPr>
          <p:cNvPr id="2" name="Title 6">
            <a:extLst>
              <a:ext uri="{FF2B5EF4-FFF2-40B4-BE49-F238E27FC236}">
                <a16:creationId xmlns:a16="http://schemas.microsoft.com/office/drawing/2014/main" id="{51BBB9F1-8E75-EF7B-637C-5F516503C418}"/>
              </a:ext>
            </a:extLst>
          </p:cNvPr>
          <p:cNvSpPr txBox="1">
            <a:spLocks/>
          </p:cNvSpPr>
          <p:nvPr/>
        </p:nvSpPr>
        <p:spPr bwMode="auto">
          <a:xfrm>
            <a:off x="468312" y="3211011"/>
            <a:ext cx="2579687" cy="8225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3500"/>
              </a:lnSpc>
              <a:spcBef>
                <a:spcPct val="0"/>
              </a:spcBef>
              <a:spcAft>
                <a:spcPct val="0"/>
              </a:spcAft>
              <a:defRPr sz="32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pPr>
              <a:lnSpc>
                <a:spcPct val="100000"/>
              </a:lnSpc>
            </a:pPr>
            <a:r>
              <a:rPr lang="en-US" altLang="en-US" sz="1800" kern="0" dirty="0"/>
              <a:t>Overview of DPM 2.0</a:t>
            </a:r>
            <a:endParaRPr lang="en-GB" altLang="en-US" sz="1800" kern="0" dirty="0"/>
          </a:p>
          <a:p>
            <a:pPr>
              <a:lnSpc>
                <a:spcPct val="100000"/>
              </a:lnSpc>
            </a:pPr>
            <a:r>
              <a:rPr lang="en-US" altLang="en-US" sz="1800" kern="0" dirty="0"/>
              <a:t>Case example</a:t>
            </a:r>
          </a:p>
          <a:p>
            <a:pPr>
              <a:lnSpc>
                <a:spcPct val="100000"/>
              </a:lnSpc>
            </a:pPr>
            <a:r>
              <a:rPr lang="en-US" altLang="en-US" sz="1800" kern="0" dirty="0"/>
              <a:t>Usage of </a:t>
            </a:r>
            <a:r>
              <a:rPr lang="en-US" altLang="en-US" sz="1800" kern="0" dirty="0" err="1"/>
              <a:t>IReF</a:t>
            </a:r>
            <a:endParaRPr lang="en-US" altLang="en-US" sz="1800" kern="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7C79FC38-AD91-E3C1-7193-A2655FE70CD1}"/>
              </a:ext>
            </a:extLst>
          </p:cNvPr>
          <p:cNvPicPr>
            <a:picLocks noChangeAspect="1"/>
          </p:cNvPicPr>
          <p:nvPr/>
        </p:nvPicPr>
        <p:blipFill>
          <a:blip r:embed="rId4"/>
          <a:stretch>
            <a:fillRect/>
          </a:stretch>
        </p:blipFill>
        <p:spPr>
          <a:xfrm>
            <a:off x="990027" y="433880"/>
            <a:ext cx="7890907" cy="4709619"/>
          </a:xfrm>
          <a:prstGeom prst="rect">
            <a:avLst/>
          </a:prstGeom>
        </p:spPr>
      </p:pic>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extLst>
              <p:ext uri="{D42A27DB-BD31-4B8C-83A1-F6EECF244321}">
                <p14:modId xmlns:p14="http://schemas.microsoft.com/office/powerpoint/2010/main" val="18157849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Overview of the DPM 2.0 Data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0</a:t>
            </a:fld>
            <a:endParaRPr lang="en-GB" altLang="en-US" sz="900">
              <a:solidFill>
                <a:srgbClr val="FFFFFF"/>
              </a:solidFill>
            </a:endParaRPr>
          </a:p>
        </p:txBody>
      </p:sp>
      <p:sp>
        <p:nvSpPr>
          <p:cNvPr id="26" name="TextBox 25">
            <a:extLst>
              <a:ext uri="{FF2B5EF4-FFF2-40B4-BE49-F238E27FC236}">
                <a16:creationId xmlns:a16="http://schemas.microsoft.com/office/drawing/2014/main" id="{C8A67190-9823-EC0A-4D1E-D297FA1A8A77}"/>
              </a:ext>
            </a:extLst>
          </p:cNvPr>
          <p:cNvSpPr txBox="1"/>
          <p:nvPr/>
        </p:nvSpPr>
        <p:spPr>
          <a:xfrm>
            <a:off x="8193099" y="591446"/>
            <a:ext cx="950901" cy="307777"/>
          </a:xfrm>
          <a:prstGeom prst="rect">
            <a:avLst/>
          </a:prstGeom>
          <a:noFill/>
        </p:spPr>
        <p:txBody>
          <a:bodyPr wrap="none" rtlCol="0">
            <a:spAutoFit/>
          </a:bodyPr>
          <a:lstStyle/>
          <a:p>
            <a:r>
              <a:rPr lang="en-GB" sz="1400" b="1" dirty="0">
                <a:solidFill>
                  <a:srgbClr val="43CEFF"/>
                </a:solidFill>
              </a:rPr>
              <a:t>Glossary</a:t>
            </a:r>
          </a:p>
        </p:txBody>
      </p:sp>
      <p:sp>
        <p:nvSpPr>
          <p:cNvPr id="73" name="TextBox 72">
            <a:extLst>
              <a:ext uri="{FF2B5EF4-FFF2-40B4-BE49-F238E27FC236}">
                <a16:creationId xmlns:a16="http://schemas.microsoft.com/office/drawing/2014/main" id="{5C4210F1-2930-CA19-4175-3B2B50038884}"/>
              </a:ext>
            </a:extLst>
          </p:cNvPr>
          <p:cNvSpPr txBox="1"/>
          <p:nvPr/>
        </p:nvSpPr>
        <p:spPr>
          <a:xfrm>
            <a:off x="142510" y="1951889"/>
            <a:ext cx="1069524" cy="307777"/>
          </a:xfrm>
          <a:prstGeom prst="rect">
            <a:avLst/>
          </a:prstGeom>
          <a:noFill/>
        </p:spPr>
        <p:txBody>
          <a:bodyPr wrap="none" rtlCol="0">
            <a:spAutoFit/>
          </a:bodyPr>
          <a:lstStyle/>
          <a:p>
            <a:r>
              <a:rPr lang="en-GB" sz="1400" b="1" dirty="0">
                <a:solidFill>
                  <a:schemeClr val="accent6">
                    <a:lumMod val="60000"/>
                    <a:lumOff val="40000"/>
                  </a:schemeClr>
                </a:solidFill>
              </a:rPr>
              <a:t>Rendering</a:t>
            </a:r>
          </a:p>
        </p:txBody>
      </p:sp>
      <p:sp>
        <p:nvSpPr>
          <p:cNvPr id="74" name="TextBox 73">
            <a:extLst>
              <a:ext uri="{FF2B5EF4-FFF2-40B4-BE49-F238E27FC236}">
                <a16:creationId xmlns:a16="http://schemas.microsoft.com/office/drawing/2014/main" id="{FDABF077-111F-CC56-E153-057DDC7F2283}"/>
              </a:ext>
            </a:extLst>
          </p:cNvPr>
          <p:cNvSpPr txBox="1"/>
          <p:nvPr/>
        </p:nvSpPr>
        <p:spPr>
          <a:xfrm>
            <a:off x="5084784" y="296506"/>
            <a:ext cx="971484" cy="307777"/>
          </a:xfrm>
          <a:prstGeom prst="rect">
            <a:avLst/>
          </a:prstGeom>
          <a:noFill/>
        </p:spPr>
        <p:txBody>
          <a:bodyPr wrap="none" rtlCol="0">
            <a:spAutoFit/>
          </a:bodyPr>
          <a:lstStyle/>
          <a:p>
            <a:r>
              <a:rPr lang="en-GB" sz="1400" b="1" dirty="0">
                <a:solidFill>
                  <a:schemeClr val="accent4">
                    <a:lumMod val="40000"/>
                    <a:lumOff val="60000"/>
                  </a:schemeClr>
                </a:solidFill>
              </a:rPr>
              <a:t>Variables</a:t>
            </a:r>
          </a:p>
        </p:txBody>
      </p:sp>
      <p:sp>
        <p:nvSpPr>
          <p:cNvPr id="75" name="TextBox 74">
            <a:extLst>
              <a:ext uri="{FF2B5EF4-FFF2-40B4-BE49-F238E27FC236}">
                <a16:creationId xmlns:a16="http://schemas.microsoft.com/office/drawing/2014/main" id="{0C17428E-55F2-3298-D5FD-55FF3CF498A5}"/>
              </a:ext>
            </a:extLst>
          </p:cNvPr>
          <p:cNvSpPr txBox="1"/>
          <p:nvPr/>
        </p:nvSpPr>
        <p:spPr>
          <a:xfrm>
            <a:off x="142510" y="660133"/>
            <a:ext cx="1079142" cy="307777"/>
          </a:xfrm>
          <a:prstGeom prst="rect">
            <a:avLst/>
          </a:prstGeom>
          <a:noFill/>
        </p:spPr>
        <p:txBody>
          <a:bodyPr wrap="none" rtlCol="0">
            <a:spAutoFit/>
          </a:bodyPr>
          <a:lstStyle/>
          <a:p>
            <a:r>
              <a:rPr lang="en-GB" sz="1400" b="1" dirty="0">
                <a:solidFill>
                  <a:schemeClr val="accent5">
                    <a:lumMod val="75000"/>
                  </a:schemeClr>
                </a:solidFill>
              </a:rPr>
              <a:t>Packaging</a:t>
            </a:r>
          </a:p>
        </p:txBody>
      </p:sp>
    </p:spTree>
    <p:extLst>
      <p:ext uri="{BB962C8B-B14F-4D97-AF65-F5344CB8AC3E}">
        <p14:creationId xmlns:p14="http://schemas.microsoft.com/office/powerpoint/2010/main" val="1577312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Overview of the DPM 2.0 Data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1</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4" y="671990"/>
            <a:ext cx="4706630" cy="4154984"/>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The </a:t>
            </a:r>
            <a:r>
              <a:rPr lang="en-GB" altLang="en-US" b="1" dirty="0">
                <a:solidFill>
                  <a:schemeClr val="accent1"/>
                </a:solidFill>
              </a:rPr>
              <a:t>Glossary</a:t>
            </a:r>
            <a:r>
              <a:rPr lang="en-GB" altLang="en-US" dirty="0"/>
              <a:t> includes the definition of:</a:t>
            </a:r>
          </a:p>
          <a:p>
            <a:pPr marL="742950" lvl="1" indent="-285750">
              <a:buFont typeface="Wingdings" panose="05000000000000000000" pitchFamily="2" charset="2"/>
              <a:buChar char="q"/>
            </a:pPr>
            <a:r>
              <a:rPr lang="en-GB" altLang="en-US" sz="1400" dirty="0"/>
              <a:t>Categories    </a:t>
            </a:r>
            <a:r>
              <a:rPr lang="en-GB" altLang="en-US" sz="1400" dirty="0" err="1">
                <a:solidFill>
                  <a:srgbClr val="FF0000"/>
                </a:solidFill>
              </a:rPr>
              <a:t>Codelists</a:t>
            </a:r>
            <a:endParaRPr lang="en-GB" altLang="en-US" sz="1400" dirty="0">
              <a:solidFill>
                <a:srgbClr val="FF0000"/>
              </a:solidFill>
            </a:endParaRPr>
          </a:p>
          <a:p>
            <a:pPr marL="742950" lvl="1" indent="-285750">
              <a:buFont typeface="Wingdings" panose="05000000000000000000" pitchFamily="2" charset="2"/>
              <a:buChar char="q"/>
            </a:pPr>
            <a:r>
              <a:rPr lang="en-GB" altLang="en-US" sz="1400" dirty="0"/>
              <a:t>Items     </a:t>
            </a:r>
            <a:r>
              <a:rPr lang="en-GB" altLang="en-US" sz="1400" dirty="0">
                <a:solidFill>
                  <a:srgbClr val="FF0000"/>
                </a:solidFill>
              </a:rPr>
              <a:t>Code</a:t>
            </a:r>
          </a:p>
          <a:p>
            <a:pPr marL="742950" lvl="1" indent="-285750">
              <a:buFont typeface="Wingdings" panose="05000000000000000000" pitchFamily="2" charset="2"/>
              <a:buChar char="q"/>
            </a:pPr>
            <a:r>
              <a:rPr lang="en-GB" altLang="en-US" sz="1400" dirty="0"/>
              <a:t>Hierarchies (subcategories)     </a:t>
            </a:r>
            <a:r>
              <a:rPr lang="en-GB" altLang="en-US" sz="1400" dirty="0">
                <a:solidFill>
                  <a:srgbClr val="FF0000"/>
                </a:solidFill>
              </a:rPr>
              <a:t>HCL</a:t>
            </a:r>
          </a:p>
          <a:p>
            <a:pPr marL="742950" lvl="1" indent="-285750">
              <a:buFont typeface="Wingdings" panose="05000000000000000000" pitchFamily="2" charset="2"/>
              <a:buChar char="q"/>
            </a:pPr>
            <a:r>
              <a:rPr lang="en-GB" altLang="en-US" sz="1400" dirty="0"/>
              <a:t>Properties     </a:t>
            </a:r>
            <a:r>
              <a:rPr lang="en-GB" altLang="en-US" sz="1400" dirty="0">
                <a:solidFill>
                  <a:srgbClr val="FF0000"/>
                </a:solidFill>
              </a:rPr>
              <a:t>Dimension</a:t>
            </a:r>
          </a:p>
          <a:p>
            <a:pPr marL="285750" indent="-285750">
              <a:buFont typeface="Arial" panose="020B0604020202020204" pitchFamily="34" charset="0"/>
              <a:buChar char="•"/>
            </a:pPr>
            <a:r>
              <a:rPr lang="en-GB" altLang="en-US" dirty="0"/>
              <a:t>Some interesting characteristics</a:t>
            </a:r>
          </a:p>
          <a:p>
            <a:pPr marL="742950" lvl="1" indent="-285750">
              <a:buFont typeface="Wingdings" panose="05000000000000000000" pitchFamily="2" charset="2"/>
              <a:buChar char="q"/>
            </a:pPr>
            <a:r>
              <a:rPr lang="en-GB" altLang="en-US" sz="1400" dirty="0"/>
              <a:t>Categories can be enumerated (closed list of values) or Not-enumerated</a:t>
            </a:r>
          </a:p>
          <a:p>
            <a:pPr marL="742950" lvl="1" indent="-285750">
              <a:buFont typeface="Wingdings" panose="05000000000000000000" pitchFamily="2" charset="2"/>
              <a:buChar char="q"/>
            </a:pPr>
            <a:r>
              <a:rPr lang="en-GB" altLang="en-US" sz="1400" dirty="0"/>
              <a:t>Properties can be quantitative (metrics   </a:t>
            </a:r>
            <a:r>
              <a:rPr lang="en-GB" altLang="en-US" sz="1400" dirty="0">
                <a:solidFill>
                  <a:srgbClr val="FF0000"/>
                </a:solidFill>
              </a:rPr>
              <a:t>measures</a:t>
            </a:r>
            <a:r>
              <a:rPr lang="en-GB" altLang="en-US" sz="1400" dirty="0"/>
              <a:t>) or qualitative</a:t>
            </a:r>
          </a:p>
          <a:p>
            <a:pPr marL="742950" lvl="1" indent="-285750">
              <a:buFont typeface="Wingdings" panose="05000000000000000000" pitchFamily="2" charset="2"/>
              <a:buChar char="q"/>
            </a:pPr>
            <a:r>
              <a:rPr lang="en-GB" altLang="en-US" sz="1400" dirty="0"/>
              <a:t>Properties can be applied to Tables, Headers or Variables</a:t>
            </a:r>
          </a:p>
          <a:p>
            <a:pPr marL="742950" lvl="1" indent="-285750">
              <a:buFont typeface="Wingdings" panose="05000000000000000000" pitchFamily="2" charset="2"/>
              <a:buChar char="q"/>
            </a:pPr>
            <a:r>
              <a:rPr lang="en-GB" altLang="en-US" sz="1400" dirty="0"/>
              <a:t>Optionally, pairs Property-Item can be associated in Contexts</a:t>
            </a:r>
          </a:p>
          <a:p>
            <a:pPr marL="285750" indent="-285750">
              <a:buFont typeface="Arial" panose="020B0604020202020204" pitchFamily="34" charset="0"/>
              <a:buChar char="•"/>
            </a:pPr>
            <a:r>
              <a:rPr lang="en-GB" altLang="en-US" dirty="0"/>
              <a:t>New elements added in DPM 2.0</a:t>
            </a:r>
          </a:p>
          <a:p>
            <a:pPr marL="742950" lvl="1" indent="-285750">
              <a:buFont typeface="Wingdings" panose="05000000000000000000" pitchFamily="2" charset="2"/>
              <a:buChar char="q"/>
            </a:pPr>
            <a:r>
              <a:rPr lang="en-GB" altLang="en-US" sz="1400" dirty="0"/>
              <a:t>Compound Items</a:t>
            </a:r>
          </a:p>
          <a:p>
            <a:pPr marL="742950" lvl="1" indent="-285750">
              <a:buFont typeface="Wingdings" panose="05000000000000000000" pitchFamily="2" charset="2"/>
              <a:buChar char="q"/>
            </a:pPr>
            <a:r>
              <a:rPr lang="en-GB" altLang="en-US" sz="1400" dirty="0"/>
              <a:t>Super Categories </a:t>
            </a:r>
          </a:p>
          <a:p>
            <a:pPr marL="742950" lvl="1" indent="-285750">
              <a:buFont typeface="Wingdings" panose="05000000000000000000" pitchFamily="2" charset="2"/>
              <a:buChar char="q"/>
            </a:pPr>
            <a:r>
              <a:rPr lang="en-GB" altLang="en-US" sz="1400" dirty="0" err="1"/>
              <a:t>Historisation</a:t>
            </a:r>
            <a:r>
              <a:rPr lang="en-GB" altLang="en-US" sz="1400" dirty="0"/>
              <a:t> of several dictionary elements</a:t>
            </a:r>
          </a:p>
        </p:txBody>
      </p:sp>
      <p:pic>
        <p:nvPicPr>
          <p:cNvPr id="8" name="Picture 7">
            <a:extLst>
              <a:ext uri="{FF2B5EF4-FFF2-40B4-BE49-F238E27FC236}">
                <a16:creationId xmlns:a16="http://schemas.microsoft.com/office/drawing/2014/main" id="{B9D08813-7AF9-3FB2-43DC-B4AAF310059E}"/>
              </a:ext>
            </a:extLst>
          </p:cNvPr>
          <p:cNvPicPr>
            <a:picLocks noChangeAspect="1"/>
          </p:cNvPicPr>
          <p:nvPr/>
        </p:nvPicPr>
        <p:blipFill>
          <a:blip r:embed="rId6"/>
          <a:stretch>
            <a:fillRect/>
          </a:stretch>
        </p:blipFill>
        <p:spPr>
          <a:xfrm>
            <a:off x="5716659" y="0"/>
            <a:ext cx="3355001" cy="4709504"/>
          </a:xfrm>
          <a:prstGeom prst="rect">
            <a:avLst/>
          </a:prstGeom>
        </p:spPr>
      </p:pic>
      <p:cxnSp>
        <p:nvCxnSpPr>
          <p:cNvPr id="10" name="Straight Arrow Connector 9">
            <a:extLst>
              <a:ext uri="{FF2B5EF4-FFF2-40B4-BE49-F238E27FC236}">
                <a16:creationId xmlns:a16="http://schemas.microsoft.com/office/drawing/2014/main" id="{F0C5E328-49EF-B30E-EE22-62EAE8CA5862}"/>
              </a:ext>
            </a:extLst>
          </p:cNvPr>
          <p:cNvCxnSpPr/>
          <p:nvPr/>
        </p:nvCxnSpPr>
        <p:spPr bwMode="auto">
          <a:xfrm>
            <a:off x="2028180" y="1106905"/>
            <a:ext cx="130629" cy="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 name="Straight Arrow Connector 10">
            <a:extLst>
              <a:ext uri="{FF2B5EF4-FFF2-40B4-BE49-F238E27FC236}">
                <a16:creationId xmlns:a16="http://schemas.microsoft.com/office/drawing/2014/main" id="{DE744B69-0B91-7368-85DF-2E858769B404}"/>
              </a:ext>
            </a:extLst>
          </p:cNvPr>
          <p:cNvCxnSpPr/>
          <p:nvPr/>
        </p:nvCxnSpPr>
        <p:spPr bwMode="auto">
          <a:xfrm>
            <a:off x="1603064" y="1321181"/>
            <a:ext cx="130629" cy="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Straight Arrow Connector 11">
            <a:extLst>
              <a:ext uri="{FF2B5EF4-FFF2-40B4-BE49-F238E27FC236}">
                <a16:creationId xmlns:a16="http://schemas.microsoft.com/office/drawing/2014/main" id="{D3A0B8C3-CF02-35AC-A91D-64E7F2E6B410}"/>
              </a:ext>
            </a:extLst>
          </p:cNvPr>
          <p:cNvCxnSpPr/>
          <p:nvPr/>
        </p:nvCxnSpPr>
        <p:spPr bwMode="auto">
          <a:xfrm>
            <a:off x="3369988" y="1541188"/>
            <a:ext cx="130629" cy="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 name="Straight Arrow Connector 12">
            <a:extLst>
              <a:ext uri="{FF2B5EF4-FFF2-40B4-BE49-F238E27FC236}">
                <a16:creationId xmlns:a16="http://schemas.microsoft.com/office/drawing/2014/main" id="{13B5D112-4C5C-B1F9-B071-CFDE9974EA77}"/>
              </a:ext>
            </a:extLst>
          </p:cNvPr>
          <p:cNvCxnSpPr/>
          <p:nvPr/>
        </p:nvCxnSpPr>
        <p:spPr bwMode="auto">
          <a:xfrm>
            <a:off x="1966303" y="1747443"/>
            <a:ext cx="130629" cy="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 name="Straight Arrow Connector 2">
            <a:extLst>
              <a:ext uri="{FF2B5EF4-FFF2-40B4-BE49-F238E27FC236}">
                <a16:creationId xmlns:a16="http://schemas.microsoft.com/office/drawing/2014/main" id="{9EE4B53A-7E20-0B88-1653-B887CA1AAF94}"/>
              </a:ext>
            </a:extLst>
          </p:cNvPr>
          <p:cNvCxnSpPr/>
          <p:nvPr/>
        </p:nvCxnSpPr>
        <p:spPr bwMode="auto">
          <a:xfrm>
            <a:off x="4227060" y="2662989"/>
            <a:ext cx="130629" cy="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14705595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Overview of the DPM 2.0 Data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2</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4" y="671990"/>
            <a:ext cx="4706630" cy="4585871"/>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The </a:t>
            </a:r>
            <a:r>
              <a:rPr lang="en-GB" altLang="en-US" b="1" dirty="0">
                <a:solidFill>
                  <a:schemeClr val="accent1"/>
                </a:solidFill>
              </a:rPr>
              <a:t>Rendering</a:t>
            </a:r>
            <a:r>
              <a:rPr lang="en-GB" altLang="en-US" dirty="0"/>
              <a:t> includes the definition of:</a:t>
            </a:r>
          </a:p>
          <a:p>
            <a:pPr marL="742950" lvl="1" indent="-285750">
              <a:buFont typeface="Wingdings" panose="05000000000000000000" pitchFamily="2" charset="2"/>
              <a:buChar char="q"/>
            </a:pPr>
            <a:r>
              <a:rPr lang="en-GB" altLang="en-US" sz="1400" dirty="0"/>
              <a:t>Tables</a:t>
            </a:r>
          </a:p>
          <a:p>
            <a:pPr marL="742950" lvl="1" indent="-285750">
              <a:buFont typeface="Wingdings" panose="05000000000000000000" pitchFamily="2" charset="2"/>
              <a:buChar char="q"/>
            </a:pPr>
            <a:r>
              <a:rPr lang="en-GB" altLang="en-US" sz="1400" dirty="0"/>
              <a:t>Headers</a:t>
            </a:r>
          </a:p>
          <a:p>
            <a:pPr marL="742950" lvl="1" indent="-285750">
              <a:buFont typeface="Wingdings" panose="05000000000000000000" pitchFamily="2" charset="2"/>
              <a:buChar char="q"/>
            </a:pPr>
            <a:r>
              <a:rPr lang="en-GB" altLang="en-US" sz="1400" dirty="0"/>
              <a:t>Cells</a:t>
            </a:r>
          </a:p>
          <a:p>
            <a:pPr marL="285750" indent="-285750">
              <a:buFont typeface="Arial" panose="020B0604020202020204" pitchFamily="34" charset="0"/>
              <a:buChar char="•"/>
            </a:pPr>
            <a:r>
              <a:rPr lang="en-GB" altLang="en-US" dirty="0"/>
              <a:t>Some interesting characteristics</a:t>
            </a:r>
          </a:p>
          <a:p>
            <a:pPr marL="742950" lvl="1" indent="-285750">
              <a:buFont typeface="Wingdings" panose="05000000000000000000" pitchFamily="2" charset="2"/>
              <a:buChar char="q"/>
            </a:pPr>
            <a:r>
              <a:rPr lang="en-GB" altLang="en-US" sz="1400" dirty="0"/>
              <a:t>Tables can be grouped and associated to another tables</a:t>
            </a:r>
          </a:p>
          <a:p>
            <a:pPr marL="742950" lvl="1" indent="-285750">
              <a:buFont typeface="Wingdings" panose="05000000000000000000" pitchFamily="2" charset="2"/>
              <a:buChar char="q"/>
            </a:pPr>
            <a:r>
              <a:rPr lang="en-GB" altLang="en-US" sz="1400" dirty="0"/>
              <a:t>Headers direction can be Row/Column/Sheet </a:t>
            </a:r>
            <a:r>
              <a:rPr lang="en-GB" altLang="en-US" sz="1400" i="1" u="sng" dirty="0"/>
              <a:t>(open tables only require columns)</a:t>
            </a:r>
          </a:p>
          <a:p>
            <a:pPr marL="742950" lvl="1" indent="-285750">
              <a:buFont typeface="Wingdings" panose="05000000000000000000" pitchFamily="2" charset="2"/>
              <a:buChar char="q"/>
            </a:pPr>
            <a:r>
              <a:rPr lang="en-GB" altLang="en-US" sz="1400" dirty="0"/>
              <a:t>A cell can point to between one and three headers (row-column-sheet). A cell can be mandatory or excluded</a:t>
            </a:r>
          </a:p>
          <a:p>
            <a:pPr marL="742950" lvl="1" indent="-285750">
              <a:buFont typeface="Wingdings" panose="05000000000000000000" pitchFamily="2" charset="2"/>
              <a:buChar char="q"/>
            </a:pPr>
            <a:r>
              <a:rPr lang="en-GB" altLang="en-US" sz="1400" dirty="0"/>
              <a:t>A table can be broken down into several abstract tables</a:t>
            </a:r>
          </a:p>
          <a:p>
            <a:pPr marL="285750" indent="-285750">
              <a:buFont typeface="Arial" panose="020B0604020202020204" pitchFamily="34" charset="0"/>
              <a:buChar char="•"/>
            </a:pPr>
            <a:r>
              <a:rPr lang="en-GB" altLang="en-US" dirty="0"/>
              <a:t>New elements added in DPM 2.0</a:t>
            </a:r>
          </a:p>
          <a:p>
            <a:pPr marL="742950" lvl="1" indent="-285750">
              <a:buFont typeface="Wingdings" panose="05000000000000000000" pitchFamily="2" charset="2"/>
              <a:buChar char="q"/>
            </a:pPr>
            <a:r>
              <a:rPr lang="en-GB" altLang="en-US" sz="1400" dirty="0"/>
              <a:t>Definition of Key Variable</a:t>
            </a:r>
          </a:p>
          <a:p>
            <a:pPr marL="1200150" lvl="2" indent="-285750">
              <a:buFont typeface="Wingdings" panose="05000000000000000000" pitchFamily="2" charset="2"/>
              <a:buChar char="q"/>
            </a:pPr>
            <a:r>
              <a:rPr lang="en-GB" altLang="en-US" sz="1200" dirty="0"/>
              <a:t>Point to a Property and may point to a </a:t>
            </a:r>
            <a:r>
              <a:rPr lang="en-GB" altLang="en-US" sz="1200" dirty="0" err="1"/>
              <a:t>SubCategory</a:t>
            </a:r>
            <a:endParaRPr lang="en-GB" altLang="en-US" sz="1200" dirty="0"/>
          </a:p>
          <a:p>
            <a:pPr marL="1200150" lvl="2" indent="-285750">
              <a:buFont typeface="Wingdings" panose="05000000000000000000" pitchFamily="2" charset="2"/>
              <a:buChar char="q"/>
            </a:pPr>
            <a:r>
              <a:rPr lang="en-GB" altLang="en-US" sz="1200" dirty="0"/>
              <a:t>Does not result in a Cell</a:t>
            </a:r>
          </a:p>
          <a:p>
            <a:pPr marL="1200150" lvl="2" indent="-285750">
              <a:buFont typeface="Wingdings" panose="05000000000000000000" pitchFamily="2" charset="2"/>
              <a:buChar char="q"/>
            </a:pPr>
            <a:r>
              <a:rPr lang="en-GB" altLang="en-US" sz="1200" dirty="0"/>
              <a:t>Links to a Variable</a:t>
            </a:r>
          </a:p>
        </p:txBody>
      </p:sp>
      <p:pic>
        <p:nvPicPr>
          <p:cNvPr id="5" name="Picture 4">
            <a:extLst>
              <a:ext uri="{FF2B5EF4-FFF2-40B4-BE49-F238E27FC236}">
                <a16:creationId xmlns:a16="http://schemas.microsoft.com/office/drawing/2014/main" id="{A5DF78CD-DAE0-1DCA-C48C-CCE2AA69579C}"/>
              </a:ext>
            </a:extLst>
          </p:cNvPr>
          <p:cNvPicPr>
            <a:picLocks noChangeAspect="1"/>
          </p:cNvPicPr>
          <p:nvPr/>
        </p:nvPicPr>
        <p:blipFill>
          <a:blip r:embed="rId6"/>
          <a:stretch>
            <a:fillRect/>
          </a:stretch>
        </p:blipFill>
        <p:spPr>
          <a:xfrm>
            <a:off x="5080764" y="397178"/>
            <a:ext cx="3936348" cy="4216539"/>
          </a:xfrm>
          <a:prstGeom prst="rect">
            <a:avLst/>
          </a:prstGeom>
        </p:spPr>
      </p:pic>
    </p:spTree>
    <p:extLst>
      <p:ext uri="{BB962C8B-B14F-4D97-AF65-F5344CB8AC3E}">
        <p14:creationId xmlns:p14="http://schemas.microsoft.com/office/powerpoint/2010/main" val="1147658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Overview of the DPM 2.0 Data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3</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3" y="671990"/>
            <a:ext cx="4603189" cy="4031873"/>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The </a:t>
            </a:r>
            <a:r>
              <a:rPr lang="en-GB" altLang="en-US" b="1" dirty="0">
                <a:solidFill>
                  <a:schemeClr val="accent1"/>
                </a:solidFill>
              </a:rPr>
              <a:t>Variables</a:t>
            </a:r>
            <a:r>
              <a:rPr lang="en-GB" altLang="en-US" dirty="0"/>
              <a:t> includes the definition of:</a:t>
            </a:r>
          </a:p>
          <a:p>
            <a:pPr marL="742950" lvl="1" indent="-285750">
              <a:buFont typeface="Wingdings" panose="05000000000000000000" pitchFamily="2" charset="2"/>
              <a:buChar char="q"/>
            </a:pPr>
            <a:r>
              <a:rPr lang="en-GB" altLang="en-US" sz="1400" dirty="0"/>
              <a:t>Fact Variables</a:t>
            </a:r>
          </a:p>
          <a:p>
            <a:pPr marL="742950" lvl="1" indent="-285750">
              <a:buFont typeface="Wingdings" panose="05000000000000000000" pitchFamily="2" charset="2"/>
              <a:buChar char="q"/>
            </a:pPr>
            <a:r>
              <a:rPr lang="en-GB" altLang="en-US" sz="1400" dirty="0"/>
              <a:t>Key Variables</a:t>
            </a:r>
            <a:endParaRPr lang="en-GB" altLang="en-US" sz="1400" dirty="0">
              <a:solidFill>
                <a:srgbClr val="FF0000"/>
              </a:solidFill>
            </a:endParaRPr>
          </a:p>
          <a:p>
            <a:pPr marL="742950" lvl="1" indent="-285750">
              <a:buFont typeface="Wingdings" panose="05000000000000000000" pitchFamily="2" charset="2"/>
              <a:buChar char="q"/>
            </a:pPr>
            <a:r>
              <a:rPr lang="en-GB" altLang="en-US" sz="1400" dirty="0"/>
              <a:t>Attributes</a:t>
            </a:r>
          </a:p>
          <a:p>
            <a:pPr marL="742950" lvl="1" indent="-285750">
              <a:buFont typeface="Wingdings" panose="05000000000000000000" pitchFamily="2" charset="2"/>
              <a:buChar char="q"/>
            </a:pPr>
            <a:r>
              <a:rPr lang="en-GB" altLang="en-US" sz="1400" dirty="0"/>
              <a:t>Filing indicators</a:t>
            </a:r>
          </a:p>
          <a:p>
            <a:pPr marL="742950" lvl="1" indent="-285750">
              <a:buFont typeface="Wingdings" panose="05000000000000000000" pitchFamily="2" charset="2"/>
              <a:buChar char="q"/>
            </a:pPr>
            <a:endParaRPr lang="en-GB" altLang="en-US" sz="1400" dirty="0"/>
          </a:p>
          <a:p>
            <a:pPr marL="285750" indent="-285750">
              <a:buFont typeface="Arial" panose="020B0604020202020204" pitchFamily="34" charset="0"/>
              <a:buChar char="•"/>
            </a:pPr>
            <a:r>
              <a:rPr lang="en-GB" altLang="en-US" dirty="0"/>
              <a:t>Some interesting characteristics</a:t>
            </a:r>
          </a:p>
          <a:p>
            <a:pPr marL="742950" lvl="1" indent="-285750">
              <a:buFont typeface="Wingdings" panose="05000000000000000000" pitchFamily="2" charset="2"/>
              <a:buChar char="q"/>
            </a:pPr>
            <a:r>
              <a:rPr lang="en-GB" altLang="en-US" sz="1400" dirty="0"/>
              <a:t>A Variable must refer to a Property</a:t>
            </a:r>
          </a:p>
          <a:p>
            <a:pPr marL="742950" lvl="1" indent="-285750">
              <a:buFont typeface="Wingdings" panose="05000000000000000000" pitchFamily="2" charset="2"/>
              <a:buChar char="q"/>
            </a:pPr>
            <a:r>
              <a:rPr lang="en-GB" altLang="en-US" sz="1400" dirty="0"/>
              <a:t>A Variable may refer to a </a:t>
            </a:r>
            <a:r>
              <a:rPr lang="en-GB" altLang="en-US" sz="1400" dirty="0" err="1"/>
              <a:t>SubCategory</a:t>
            </a:r>
            <a:r>
              <a:rPr lang="en-GB" altLang="en-US" sz="1400" dirty="0"/>
              <a:t> or to a Context</a:t>
            </a:r>
          </a:p>
          <a:p>
            <a:pPr marL="742950" lvl="1" indent="-285750">
              <a:buFont typeface="Wingdings" panose="05000000000000000000" pitchFamily="2" charset="2"/>
              <a:buChar char="q"/>
            </a:pPr>
            <a:r>
              <a:rPr lang="en-GB" altLang="en-US" sz="1400" dirty="0"/>
              <a:t>The composition of a Variable may change between releases</a:t>
            </a:r>
          </a:p>
          <a:p>
            <a:pPr marL="742950" lvl="1" indent="-285750">
              <a:buFont typeface="Wingdings" panose="05000000000000000000" pitchFamily="2" charset="2"/>
              <a:buChar char="q"/>
            </a:pPr>
            <a:r>
              <a:rPr lang="en-GB" altLang="en-US" sz="1400" dirty="0"/>
              <a:t>Fact Variables are propagated to Cells on intersection of the Headers</a:t>
            </a:r>
          </a:p>
          <a:p>
            <a:pPr marL="742950" lvl="1" indent="-285750">
              <a:buFont typeface="Wingdings" panose="05000000000000000000" pitchFamily="2" charset="2"/>
              <a:buChar char="q"/>
            </a:pPr>
            <a:r>
              <a:rPr lang="en-GB" altLang="en-US" sz="1400" dirty="0"/>
              <a:t>Key Variables are derived from headers which have no cells</a:t>
            </a:r>
          </a:p>
          <a:p>
            <a:pPr marL="1200150" lvl="2" indent="-285750">
              <a:buFont typeface="Wingdings" panose="05000000000000000000" pitchFamily="2" charset="2"/>
              <a:buChar char="q"/>
            </a:pPr>
            <a:r>
              <a:rPr lang="en-GB" altLang="en-US" sz="1200" dirty="0"/>
              <a:t>Table refers to a </a:t>
            </a:r>
            <a:r>
              <a:rPr lang="en-GB" altLang="en-US" sz="1200" dirty="0" err="1"/>
              <a:t>KeyComposition</a:t>
            </a:r>
            <a:endParaRPr lang="en-GB" altLang="en-US" sz="1200" dirty="0"/>
          </a:p>
          <a:p>
            <a:pPr marL="1200150" lvl="2" indent="-285750">
              <a:buFont typeface="Wingdings" panose="05000000000000000000" pitchFamily="2" charset="2"/>
              <a:buChar char="q"/>
            </a:pPr>
            <a:r>
              <a:rPr lang="en-GB" altLang="en-US" sz="1200" dirty="0"/>
              <a:t>A </a:t>
            </a:r>
            <a:r>
              <a:rPr lang="en-GB" altLang="en-US" sz="1200" dirty="0" err="1"/>
              <a:t>KeyComposition</a:t>
            </a:r>
            <a:r>
              <a:rPr lang="en-GB" altLang="en-US" sz="1200" dirty="0"/>
              <a:t> arranges Key Vars</a:t>
            </a:r>
          </a:p>
        </p:txBody>
      </p:sp>
      <p:pic>
        <p:nvPicPr>
          <p:cNvPr id="9" name="Picture 8">
            <a:extLst>
              <a:ext uri="{FF2B5EF4-FFF2-40B4-BE49-F238E27FC236}">
                <a16:creationId xmlns:a16="http://schemas.microsoft.com/office/drawing/2014/main" id="{B5A60FC6-3632-4ABC-1E7D-C38C01FF3F08}"/>
              </a:ext>
            </a:extLst>
          </p:cNvPr>
          <p:cNvPicPr>
            <a:picLocks noChangeAspect="1"/>
          </p:cNvPicPr>
          <p:nvPr/>
        </p:nvPicPr>
        <p:blipFill>
          <a:blip r:embed="rId6"/>
          <a:stretch>
            <a:fillRect/>
          </a:stretch>
        </p:blipFill>
        <p:spPr>
          <a:xfrm>
            <a:off x="4747267" y="535494"/>
            <a:ext cx="4396733" cy="3513992"/>
          </a:xfrm>
          <a:prstGeom prst="rect">
            <a:avLst/>
          </a:prstGeom>
        </p:spPr>
      </p:pic>
    </p:spTree>
    <p:extLst>
      <p:ext uri="{BB962C8B-B14F-4D97-AF65-F5344CB8AC3E}">
        <p14:creationId xmlns:p14="http://schemas.microsoft.com/office/powerpoint/2010/main" val="1657579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Overview of the DPM 2.0 Data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4</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3" y="671990"/>
            <a:ext cx="4597611" cy="3077766"/>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The </a:t>
            </a:r>
            <a:r>
              <a:rPr lang="en-GB" altLang="en-US" b="1" dirty="0">
                <a:solidFill>
                  <a:schemeClr val="accent1"/>
                </a:solidFill>
              </a:rPr>
              <a:t>Packaging</a:t>
            </a:r>
            <a:r>
              <a:rPr lang="en-GB" altLang="en-US" dirty="0"/>
              <a:t> includes the definition of:</a:t>
            </a:r>
          </a:p>
          <a:p>
            <a:pPr marL="742950" lvl="1" indent="-285750">
              <a:buFont typeface="Wingdings" panose="05000000000000000000" pitchFamily="2" charset="2"/>
              <a:buChar char="q"/>
            </a:pPr>
            <a:r>
              <a:rPr lang="en-GB" altLang="en-US" sz="1400" dirty="0"/>
              <a:t>Modules</a:t>
            </a:r>
          </a:p>
          <a:p>
            <a:pPr marL="742950" lvl="1" indent="-285750">
              <a:buFont typeface="Wingdings" panose="05000000000000000000" pitchFamily="2" charset="2"/>
              <a:buChar char="q"/>
            </a:pPr>
            <a:r>
              <a:rPr lang="en-GB" altLang="en-US" sz="1400" dirty="0"/>
              <a:t>Module parameters</a:t>
            </a:r>
          </a:p>
          <a:p>
            <a:pPr marL="742950" lvl="1" indent="-285750">
              <a:buFont typeface="Wingdings" panose="05000000000000000000" pitchFamily="2" charset="2"/>
              <a:buChar char="q"/>
            </a:pPr>
            <a:r>
              <a:rPr lang="en-GB" altLang="en-US" sz="1400" dirty="0"/>
              <a:t>Frameworks</a:t>
            </a:r>
          </a:p>
          <a:p>
            <a:pPr marL="742950" lvl="1" indent="-285750">
              <a:buFont typeface="Wingdings" panose="05000000000000000000" pitchFamily="2" charset="2"/>
              <a:buChar char="q"/>
            </a:pPr>
            <a:endParaRPr lang="en-GB" altLang="en-US" sz="1400" dirty="0"/>
          </a:p>
          <a:p>
            <a:pPr marL="285750" indent="-285750">
              <a:buFont typeface="Arial" panose="020B0604020202020204" pitchFamily="34" charset="0"/>
              <a:buChar char="•"/>
            </a:pPr>
            <a:r>
              <a:rPr lang="en-GB" altLang="en-US" dirty="0"/>
              <a:t>Some interesting characteristics</a:t>
            </a:r>
          </a:p>
          <a:p>
            <a:pPr marL="742950" lvl="1" indent="-285750">
              <a:buFont typeface="Wingdings" panose="05000000000000000000" pitchFamily="2" charset="2"/>
              <a:buChar char="q"/>
            </a:pPr>
            <a:r>
              <a:rPr lang="en-GB" altLang="en-US" sz="1400" dirty="0"/>
              <a:t>A Framework is a group of regulatory reporting requirements</a:t>
            </a:r>
          </a:p>
          <a:p>
            <a:pPr marL="742950" lvl="1" indent="-285750">
              <a:buFont typeface="Wingdings" panose="05000000000000000000" pitchFamily="2" charset="2"/>
              <a:buChar char="q"/>
            </a:pPr>
            <a:r>
              <a:rPr lang="en-GB" altLang="en-US" sz="1400" dirty="0"/>
              <a:t>A Module is a set of information to be reported together (in one report)</a:t>
            </a:r>
          </a:p>
          <a:p>
            <a:pPr marL="742950" lvl="1" indent="-285750">
              <a:buFont typeface="Wingdings" panose="05000000000000000000" pitchFamily="2" charset="2"/>
              <a:buChar char="q"/>
            </a:pPr>
            <a:r>
              <a:rPr lang="en-GB" altLang="en-US" sz="1400" dirty="0"/>
              <a:t>Module parameters are Variables applied globally to all Fact Variables of a Module</a:t>
            </a:r>
          </a:p>
        </p:txBody>
      </p:sp>
      <p:pic>
        <p:nvPicPr>
          <p:cNvPr id="11" name="Picture 10">
            <a:extLst>
              <a:ext uri="{FF2B5EF4-FFF2-40B4-BE49-F238E27FC236}">
                <a16:creationId xmlns:a16="http://schemas.microsoft.com/office/drawing/2014/main" id="{FD335E56-20CE-1286-5074-D934C7C35974}"/>
              </a:ext>
            </a:extLst>
          </p:cNvPr>
          <p:cNvPicPr>
            <a:picLocks noChangeAspect="1"/>
          </p:cNvPicPr>
          <p:nvPr/>
        </p:nvPicPr>
        <p:blipFill>
          <a:blip r:embed="rId6"/>
          <a:stretch>
            <a:fillRect/>
          </a:stretch>
        </p:blipFill>
        <p:spPr>
          <a:xfrm>
            <a:off x="4893264" y="397178"/>
            <a:ext cx="4250736" cy="3396343"/>
          </a:xfrm>
          <a:prstGeom prst="rect">
            <a:avLst/>
          </a:prstGeom>
        </p:spPr>
      </p:pic>
    </p:spTree>
    <p:extLst>
      <p:ext uri="{BB962C8B-B14F-4D97-AF65-F5344CB8AC3E}">
        <p14:creationId xmlns:p14="http://schemas.microsoft.com/office/powerpoint/2010/main" val="39029445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2087" b="1252"/>
          <a:stretch/>
        </p:blipFill>
        <p:spPr>
          <a:xfrm>
            <a:off x="1" y="-3175"/>
            <a:ext cx="4621213" cy="5146675"/>
          </a:xfrm>
        </p:spPr>
      </p:pic>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15</a:t>
            </a:fld>
            <a:endParaRPr altLang="en-US" sz="900">
              <a:solidFill>
                <a:schemeClr val="bg1"/>
              </a:solidFill>
              <a:ea typeface="ヒラギノ角ゴ Pro W3"/>
              <a:cs typeface="ヒラギノ角ゴ Pro W3"/>
            </a:endParaRPr>
          </a:p>
        </p:txBody>
      </p:sp>
      <p:sp>
        <p:nvSpPr>
          <p:cNvPr id="4" name="Text Placeholder 3"/>
          <p:cNvSpPr>
            <a:spLocks noGrp="1"/>
          </p:cNvSpPr>
          <p:nvPr>
            <p:ph type="body" sz="quarter" idx="13"/>
          </p:nvPr>
        </p:nvSpPr>
        <p:spPr>
          <a:xfrm>
            <a:off x="4772025" y="1432229"/>
            <a:ext cx="4314425" cy="1988530"/>
          </a:xfrm>
        </p:spPr>
        <p:txBody>
          <a:bodyPr>
            <a:normAutofit fontScale="92500" lnSpcReduction="10000"/>
          </a:bodyPr>
          <a:lstStyle/>
          <a:p>
            <a:pPr>
              <a:defRPr/>
            </a:pPr>
            <a:r>
              <a:rPr lang="en-GB" sz="4800" dirty="0"/>
              <a:t>3. E</a:t>
            </a:r>
            <a:r>
              <a:rPr lang="en-US" altLang="en-US" sz="4800" dirty="0" err="1"/>
              <a:t>xamples</a:t>
            </a:r>
            <a:r>
              <a:rPr lang="en-US" altLang="en-US" sz="4800" dirty="0"/>
              <a:t> of usage of the DPM</a:t>
            </a:r>
            <a:endParaRPr lang="en-GB" sz="4800" dirty="0"/>
          </a:p>
        </p:txBody>
      </p:sp>
    </p:spTree>
    <p:extLst>
      <p:ext uri="{BB962C8B-B14F-4D97-AF65-F5344CB8AC3E}">
        <p14:creationId xmlns:p14="http://schemas.microsoft.com/office/powerpoint/2010/main" val="3476596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US" sz="2000" dirty="0">
                <a:ea typeface="Times New Roman" panose="02020603050405020304" pitchFamily="18" charset="0"/>
              </a:rPr>
              <a:t>Example of usage of the DPM as ERM</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5863355" y="4603737"/>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6</a:t>
            </a:fld>
            <a:endParaRPr lang="en-GB" altLang="en-US" sz="900">
              <a:solidFill>
                <a:srgbClr val="FFFFFF"/>
              </a:solidFill>
            </a:endParaRPr>
          </a:p>
        </p:txBody>
      </p:sp>
      <p:pic>
        <p:nvPicPr>
          <p:cNvPr id="5" name="Picture 4">
            <a:extLst>
              <a:ext uri="{FF2B5EF4-FFF2-40B4-BE49-F238E27FC236}">
                <a16:creationId xmlns:a16="http://schemas.microsoft.com/office/drawing/2014/main" id="{F9ED6F3E-A41B-AAA0-2D1D-BFCADD1A280A}"/>
              </a:ext>
            </a:extLst>
          </p:cNvPr>
          <p:cNvPicPr>
            <a:picLocks noChangeAspect="1"/>
          </p:cNvPicPr>
          <p:nvPr/>
        </p:nvPicPr>
        <p:blipFill>
          <a:blip r:embed="rId6"/>
          <a:stretch>
            <a:fillRect/>
          </a:stretch>
        </p:blipFill>
        <p:spPr>
          <a:xfrm>
            <a:off x="1773265" y="677194"/>
            <a:ext cx="1486107" cy="2943636"/>
          </a:xfrm>
          <a:prstGeom prst="rect">
            <a:avLst/>
          </a:prstGeom>
        </p:spPr>
      </p:pic>
      <p:pic>
        <p:nvPicPr>
          <p:cNvPr id="9" name="Picture 8">
            <a:extLst>
              <a:ext uri="{FF2B5EF4-FFF2-40B4-BE49-F238E27FC236}">
                <a16:creationId xmlns:a16="http://schemas.microsoft.com/office/drawing/2014/main" id="{E0DE004E-0FEB-5864-83C8-E4FC06418965}"/>
              </a:ext>
            </a:extLst>
          </p:cNvPr>
          <p:cNvPicPr>
            <a:picLocks noChangeAspect="1"/>
          </p:cNvPicPr>
          <p:nvPr/>
        </p:nvPicPr>
        <p:blipFill>
          <a:blip r:embed="rId7"/>
          <a:stretch>
            <a:fillRect/>
          </a:stretch>
        </p:blipFill>
        <p:spPr>
          <a:xfrm>
            <a:off x="5479287" y="229557"/>
            <a:ext cx="665359" cy="821914"/>
          </a:xfrm>
          <a:prstGeom prst="rect">
            <a:avLst/>
          </a:prstGeom>
        </p:spPr>
      </p:pic>
      <p:cxnSp>
        <p:nvCxnSpPr>
          <p:cNvPr id="12" name="Straight Arrow Connector 11">
            <a:extLst>
              <a:ext uri="{FF2B5EF4-FFF2-40B4-BE49-F238E27FC236}">
                <a16:creationId xmlns:a16="http://schemas.microsoft.com/office/drawing/2014/main" id="{D98CE13C-F773-00BE-F0C5-CCA629C4F681}"/>
              </a:ext>
            </a:extLst>
          </p:cNvPr>
          <p:cNvCxnSpPr>
            <a:stCxn id="9" idx="1"/>
          </p:cNvCxnSpPr>
          <p:nvPr/>
        </p:nvCxnSpPr>
        <p:spPr bwMode="auto">
          <a:xfrm flipH="1">
            <a:off x="3190087" y="640514"/>
            <a:ext cx="2289200" cy="624889"/>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 name="Straight Arrow Connector 13">
            <a:extLst>
              <a:ext uri="{FF2B5EF4-FFF2-40B4-BE49-F238E27FC236}">
                <a16:creationId xmlns:a16="http://schemas.microsoft.com/office/drawing/2014/main" id="{68957F0E-E49C-8F48-A39C-EE60276926D0}"/>
              </a:ext>
            </a:extLst>
          </p:cNvPr>
          <p:cNvCxnSpPr>
            <a:stCxn id="9" idx="1"/>
          </p:cNvCxnSpPr>
          <p:nvPr/>
        </p:nvCxnSpPr>
        <p:spPr bwMode="auto">
          <a:xfrm flipH="1">
            <a:off x="3134982" y="640514"/>
            <a:ext cx="2344305" cy="1771203"/>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Arrow Connector 15">
            <a:extLst>
              <a:ext uri="{FF2B5EF4-FFF2-40B4-BE49-F238E27FC236}">
                <a16:creationId xmlns:a16="http://schemas.microsoft.com/office/drawing/2014/main" id="{95963811-3101-4A86-3CBA-C526FB2C258A}"/>
              </a:ext>
            </a:extLst>
          </p:cNvPr>
          <p:cNvCxnSpPr>
            <a:stCxn id="9" idx="1"/>
          </p:cNvCxnSpPr>
          <p:nvPr/>
        </p:nvCxnSpPr>
        <p:spPr bwMode="auto">
          <a:xfrm flipH="1">
            <a:off x="2202746" y="640514"/>
            <a:ext cx="3276541" cy="2716296"/>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8" name="Straight Arrow Connector 17">
            <a:extLst>
              <a:ext uri="{FF2B5EF4-FFF2-40B4-BE49-F238E27FC236}">
                <a16:creationId xmlns:a16="http://schemas.microsoft.com/office/drawing/2014/main" id="{FCAC1473-3E32-7D7D-AD77-0170E6AAF492}"/>
              </a:ext>
            </a:extLst>
          </p:cNvPr>
          <p:cNvCxnSpPr>
            <a:stCxn id="9" idx="1"/>
          </p:cNvCxnSpPr>
          <p:nvPr/>
        </p:nvCxnSpPr>
        <p:spPr bwMode="auto">
          <a:xfrm flipH="1">
            <a:off x="3007549" y="640514"/>
            <a:ext cx="2471738" cy="2716296"/>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0" name="Picture 19">
            <a:extLst>
              <a:ext uri="{FF2B5EF4-FFF2-40B4-BE49-F238E27FC236}">
                <a16:creationId xmlns:a16="http://schemas.microsoft.com/office/drawing/2014/main" id="{8EBF3CC4-C80E-38BA-6014-F7ECA1030803}"/>
              </a:ext>
            </a:extLst>
          </p:cNvPr>
          <p:cNvPicPr>
            <a:picLocks noChangeAspect="1"/>
          </p:cNvPicPr>
          <p:nvPr/>
        </p:nvPicPr>
        <p:blipFill>
          <a:blip r:embed="rId8"/>
          <a:stretch>
            <a:fillRect/>
          </a:stretch>
        </p:blipFill>
        <p:spPr>
          <a:xfrm>
            <a:off x="6775048" y="931208"/>
            <a:ext cx="750378" cy="923935"/>
          </a:xfrm>
          <a:prstGeom prst="rect">
            <a:avLst/>
          </a:prstGeom>
        </p:spPr>
      </p:pic>
      <p:cxnSp>
        <p:nvCxnSpPr>
          <p:cNvPr id="22" name="Straight Arrow Connector 21">
            <a:extLst>
              <a:ext uri="{FF2B5EF4-FFF2-40B4-BE49-F238E27FC236}">
                <a16:creationId xmlns:a16="http://schemas.microsoft.com/office/drawing/2014/main" id="{90861B1F-B13C-7E68-5B92-EBF03420EED5}"/>
              </a:ext>
            </a:extLst>
          </p:cNvPr>
          <p:cNvCxnSpPr>
            <a:cxnSpLocks/>
            <a:stCxn id="20" idx="1"/>
          </p:cNvCxnSpPr>
          <p:nvPr/>
        </p:nvCxnSpPr>
        <p:spPr bwMode="auto">
          <a:xfrm flipH="1" flipV="1">
            <a:off x="3170885" y="1011111"/>
            <a:ext cx="3604163" cy="382065"/>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4" name="Straight Arrow Connector 23">
            <a:extLst>
              <a:ext uri="{FF2B5EF4-FFF2-40B4-BE49-F238E27FC236}">
                <a16:creationId xmlns:a16="http://schemas.microsoft.com/office/drawing/2014/main" id="{8F2A015B-44EA-FCA6-E235-24A82AF54E85}"/>
              </a:ext>
            </a:extLst>
          </p:cNvPr>
          <p:cNvCxnSpPr>
            <a:cxnSpLocks/>
            <a:stCxn id="20" idx="1"/>
          </p:cNvCxnSpPr>
          <p:nvPr/>
        </p:nvCxnSpPr>
        <p:spPr bwMode="auto">
          <a:xfrm flipH="1" flipV="1">
            <a:off x="3190087" y="1131057"/>
            <a:ext cx="3584961" cy="262119"/>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6" name="Straight Arrow Connector 25">
            <a:extLst>
              <a:ext uri="{FF2B5EF4-FFF2-40B4-BE49-F238E27FC236}">
                <a16:creationId xmlns:a16="http://schemas.microsoft.com/office/drawing/2014/main" id="{2E5DE42D-99B5-BE84-2EED-B5FC51FD180F}"/>
              </a:ext>
            </a:extLst>
          </p:cNvPr>
          <p:cNvCxnSpPr>
            <a:cxnSpLocks/>
            <a:stCxn id="20" idx="1"/>
          </p:cNvCxnSpPr>
          <p:nvPr/>
        </p:nvCxnSpPr>
        <p:spPr bwMode="auto">
          <a:xfrm flipH="1" flipV="1">
            <a:off x="3201462" y="1224396"/>
            <a:ext cx="3573586" cy="168780"/>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8" name="Straight Arrow Connector 27">
            <a:extLst>
              <a:ext uri="{FF2B5EF4-FFF2-40B4-BE49-F238E27FC236}">
                <a16:creationId xmlns:a16="http://schemas.microsoft.com/office/drawing/2014/main" id="{EB03A119-8B5A-BF80-1EC2-4671F16C0D4E}"/>
              </a:ext>
            </a:extLst>
          </p:cNvPr>
          <p:cNvCxnSpPr>
            <a:cxnSpLocks/>
            <a:stCxn id="20" idx="1"/>
          </p:cNvCxnSpPr>
          <p:nvPr/>
        </p:nvCxnSpPr>
        <p:spPr bwMode="auto">
          <a:xfrm flipH="1" flipV="1">
            <a:off x="3190087" y="1308786"/>
            <a:ext cx="3584961" cy="84390"/>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0" name="Straight Arrow Connector 29">
            <a:extLst>
              <a:ext uri="{FF2B5EF4-FFF2-40B4-BE49-F238E27FC236}">
                <a16:creationId xmlns:a16="http://schemas.microsoft.com/office/drawing/2014/main" id="{13F1DFC1-A84F-C5B2-0B51-D03AADC0A01B}"/>
              </a:ext>
            </a:extLst>
          </p:cNvPr>
          <p:cNvCxnSpPr>
            <a:cxnSpLocks/>
            <a:stCxn id="20" idx="1"/>
          </p:cNvCxnSpPr>
          <p:nvPr/>
        </p:nvCxnSpPr>
        <p:spPr bwMode="auto">
          <a:xfrm flipH="1">
            <a:off x="3190087" y="1393176"/>
            <a:ext cx="3584961" cy="33735"/>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3" name="Straight Arrow Connector 32">
            <a:extLst>
              <a:ext uri="{FF2B5EF4-FFF2-40B4-BE49-F238E27FC236}">
                <a16:creationId xmlns:a16="http://schemas.microsoft.com/office/drawing/2014/main" id="{198A8165-BF94-E93D-D9AC-6947741D0A8A}"/>
              </a:ext>
            </a:extLst>
          </p:cNvPr>
          <p:cNvCxnSpPr>
            <a:cxnSpLocks/>
            <a:stCxn id="20" idx="1"/>
          </p:cNvCxnSpPr>
          <p:nvPr/>
        </p:nvCxnSpPr>
        <p:spPr bwMode="auto">
          <a:xfrm flipH="1">
            <a:off x="3182260" y="1393176"/>
            <a:ext cx="3592788" cy="147918"/>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5" name="Straight Arrow Connector 34">
            <a:extLst>
              <a:ext uri="{FF2B5EF4-FFF2-40B4-BE49-F238E27FC236}">
                <a16:creationId xmlns:a16="http://schemas.microsoft.com/office/drawing/2014/main" id="{88FDAFC1-842D-1755-CA85-5AAC79F03929}"/>
              </a:ext>
            </a:extLst>
          </p:cNvPr>
          <p:cNvCxnSpPr>
            <a:cxnSpLocks/>
            <a:stCxn id="20" idx="1"/>
          </p:cNvCxnSpPr>
          <p:nvPr/>
        </p:nvCxnSpPr>
        <p:spPr bwMode="auto">
          <a:xfrm flipH="1">
            <a:off x="3134982" y="1393176"/>
            <a:ext cx="3640066" cy="1020625"/>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36" name="TextBox 35">
            <a:extLst>
              <a:ext uri="{FF2B5EF4-FFF2-40B4-BE49-F238E27FC236}">
                <a16:creationId xmlns:a16="http://schemas.microsoft.com/office/drawing/2014/main" id="{B305569A-8B00-D232-EB9B-66E8DD8CEA5B}"/>
              </a:ext>
            </a:extLst>
          </p:cNvPr>
          <p:cNvSpPr txBox="1"/>
          <p:nvPr/>
        </p:nvSpPr>
        <p:spPr>
          <a:xfrm>
            <a:off x="1824799" y="3741754"/>
            <a:ext cx="1165908" cy="523220"/>
          </a:xfrm>
          <a:prstGeom prst="rect">
            <a:avLst/>
          </a:prstGeom>
          <a:noFill/>
        </p:spPr>
        <p:txBody>
          <a:bodyPr wrap="square" rtlCol="0">
            <a:spAutoFit/>
          </a:bodyPr>
          <a:lstStyle/>
          <a:p>
            <a:pPr algn="ctr"/>
            <a:r>
              <a:rPr lang="en-GB" sz="1400" dirty="0"/>
              <a:t>Subset of a data model</a:t>
            </a:r>
          </a:p>
        </p:txBody>
      </p:sp>
      <p:pic>
        <p:nvPicPr>
          <p:cNvPr id="38" name="Picture 37">
            <a:extLst>
              <a:ext uri="{FF2B5EF4-FFF2-40B4-BE49-F238E27FC236}">
                <a16:creationId xmlns:a16="http://schemas.microsoft.com/office/drawing/2014/main" id="{5EEA2C0A-829F-3BFE-CF1D-27556F322380}"/>
              </a:ext>
            </a:extLst>
          </p:cNvPr>
          <p:cNvPicPr>
            <a:picLocks noChangeAspect="1"/>
          </p:cNvPicPr>
          <p:nvPr/>
        </p:nvPicPr>
        <p:blipFill>
          <a:blip r:embed="rId9"/>
          <a:stretch>
            <a:fillRect/>
          </a:stretch>
        </p:blipFill>
        <p:spPr>
          <a:xfrm>
            <a:off x="6794250" y="1913504"/>
            <a:ext cx="580720" cy="753366"/>
          </a:xfrm>
          <a:prstGeom prst="rect">
            <a:avLst/>
          </a:prstGeom>
        </p:spPr>
      </p:pic>
      <p:cxnSp>
        <p:nvCxnSpPr>
          <p:cNvPr id="40" name="Straight Arrow Connector 39">
            <a:extLst>
              <a:ext uri="{FF2B5EF4-FFF2-40B4-BE49-F238E27FC236}">
                <a16:creationId xmlns:a16="http://schemas.microsoft.com/office/drawing/2014/main" id="{1D39F011-6F1C-A82B-B52E-2CFBE6CF2CF5}"/>
              </a:ext>
            </a:extLst>
          </p:cNvPr>
          <p:cNvCxnSpPr>
            <a:cxnSpLocks/>
            <a:stCxn id="38" idx="1"/>
          </p:cNvCxnSpPr>
          <p:nvPr/>
        </p:nvCxnSpPr>
        <p:spPr bwMode="auto">
          <a:xfrm flipH="1" flipV="1">
            <a:off x="2124266" y="1166879"/>
            <a:ext cx="4669984" cy="1123308"/>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D1BDFF1D-5D39-05ED-7982-D8591C656E4D}"/>
              </a:ext>
            </a:extLst>
          </p:cNvPr>
          <p:cNvCxnSpPr>
            <a:cxnSpLocks/>
            <a:stCxn id="38" idx="1"/>
          </p:cNvCxnSpPr>
          <p:nvPr/>
        </p:nvCxnSpPr>
        <p:spPr bwMode="auto">
          <a:xfrm flipH="1">
            <a:off x="2104725" y="2290187"/>
            <a:ext cx="4689525" cy="33371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43" name="Oval 42">
            <a:extLst>
              <a:ext uri="{FF2B5EF4-FFF2-40B4-BE49-F238E27FC236}">
                <a16:creationId xmlns:a16="http://schemas.microsoft.com/office/drawing/2014/main" id="{3A4E8751-1491-3341-7605-83006A75E11B}"/>
              </a:ext>
            </a:extLst>
          </p:cNvPr>
          <p:cNvSpPr/>
          <p:nvPr/>
        </p:nvSpPr>
        <p:spPr bwMode="auto">
          <a:xfrm>
            <a:off x="1910033" y="920253"/>
            <a:ext cx="198296" cy="493252"/>
          </a:xfrm>
          <a:prstGeom prst="ellipse">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44" name="Oval 43">
            <a:extLst>
              <a:ext uri="{FF2B5EF4-FFF2-40B4-BE49-F238E27FC236}">
                <a16:creationId xmlns:a16="http://schemas.microsoft.com/office/drawing/2014/main" id="{EAE5D59C-E742-E5CA-CA66-AF59E85FC071}"/>
              </a:ext>
            </a:extLst>
          </p:cNvPr>
          <p:cNvSpPr/>
          <p:nvPr/>
        </p:nvSpPr>
        <p:spPr bwMode="auto">
          <a:xfrm>
            <a:off x="1879800" y="2256048"/>
            <a:ext cx="208988" cy="719031"/>
          </a:xfrm>
          <a:prstGeom prst="ellipse">
            <a:avLst/>
          </a:prstGeom>
          <a:noFill/>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pic>
        <p:nvPicPr>
          <p:cNvPr id="46" name="Picture 45">
            <a:extLst>
              <a:ext uri="{FF2B5EF4-FFF2-40B4-BE49-F238E27FC236}">
                <a16:creationId xmlns:a16="http://schemas.microsoft.com/office/drawing/2014/main" id="{1B618961-D0F8-504B-DB94-89FD7E2AC1FA}"/>
              </a:ext>
            </a:extLst>
          </p:cNvPr>
          <p:cNvPicPr>
            <a:picLocks noChangeAspect="1"/>
          </p:cNvPicPr>
          <p:nvPr/>
        </p:nvPicPr>
        <p:blipFill>
          <a:blip r:embed="rId10"/>
          <a:stretch>
            <a:fillRect/>
          </a:stretch>
        </p:blipFill>
        <p:spPr>
          <a:xfrm>
            <a:off x="6605012" y="3356810"/>
            <a:ext cx="959191" cy="999463"/>
          </a:xfrm>
          <a:prstGeom prst="rect">
            <a:avLst/>
          </a:prstGeom>
        </p:spPr>
      </p:pic>
      <p:pic>
        <p:nvPicPr>
          <p:cNvPr id="48" name="Picture 47">
            <a:extLst>
              <a:ext uri="{FF2B5EF4-FFF2-40B4-BE49-F238E27FC236}">
                <a16:creationId xmlns:a16="http://schemas.microsoft.com/office/drawing/2014/main" id="{50F7CFAD-FF99-3433-CD5C-38395F198971}"/>
              </a:ext>
            </a:extLst>
          </p:cNvPr>
          <p:cNvPicPr>
            <a:picLocks noChangeAspect="1"/>
          </p:cNvPicPr>
          <p:nvPr/>
        </p:nvPicPr>
        <p:blipFill>
          <a:blip r:embed="rId11"/>
          <a:stretch>
            <a:fillRect/>
          </a:stretch>
        </p:blipFill>
        <p:spPr>
          <a:xfrm>
            <a:off x="6629952" y="2738665"/>
            <a:ext cx="909313" cy="546506"/>
          </a:xfrm>
          <a:prstGeom prst="rect">
            <a:avLst/>
          </a:prstGeom>
        </p:spPr>
      </p:pic>
      <p:pic>
        <p:nvPicPr>
          <p:cNvPr id="50" name="Picture 49">
            <a:extLst>
              <a:ext uri="{FF2B5EF4-FFF2-40B4-BE49-F238E27FC236}">
                <a16:creationId xmlns:a16="http://schemas.microsoft.com/office/drawing/2014/main" id="{DCFF5B61-C99E-1285-FE23-5874119BBC40}"/>
              </a:ext>
            </a:extLst>
          </p:cNvPr>
          <p:cNvPicPr>
            <a:picLocks noChangeAspect="1"/>
          </p:cNvPicPr>
          <p:nvPr/>
        </p:nvPicPr>
        <p:blipFill>
          <a:blip r:embed="rId12"/>
          <a:stretch>
            <a:fillRect/>
          </a:stretch>
        </p:blipFill>
        <p:spPr>
          <a:xfrm>
            <a:off x="4172595" y="3754710"/>
            <a:ext cx="626286" cy="1061390"/>
          </a:xfrm>
          <a:prstGeom prst="rect">
            <a:avLst/>
          </a:prstGeom>
        </p:spPr>
      </p:pic>
      <p:sp>
        <p:nvSpPr>
          <p:cNvPr id="65" name="Oval 64">
            <a:extLst>
              <a:ext uri="{FF2B5EF4-FFF2-40B4-BE49-F238E27FC236}">
                <a16:creationId xmlns:a16="http://schemas.microsoft.com/office/drawing/2014/main" id="{6A05A696-0D48-FCF0-24C1-7FF78E3EC422}"/>
              </a:ext>
            </a:extLst>
          </p:cNvPr>
          <p:cNvSpPr/>
          <p:nvPr/>
        </p:nvSpPr>
        <p:spPr bwMode="auto">
          <a:xfrm>
            <a:off x="6854562" y="2361826"/>
            <a:ext cx="460638" cy="216737"/>
          </a:xfrm>
          <a:prstGeom prst="ellipse">
            <a:avLst/>
          </a:prstGeom>
          <a:noFill/>
          <a:ln w="190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cxnSp>
        <p:nvCxnSpPr>
          <p:cNvPr id="67" name="Straight Arrow Connector 66">
            <a:extLst>
              <a:ext uri="{FF2B5EF4-FFF2-40B4-BE49-F238E27FC236}">
                <a16:creationId xmlns:a16="http://schemas.microsoft.com/office/drawing/2014/main" id="{FA0F4F00-1477-883E-7FC0-0D31E451D138}"/>
              </a:ext>
            </a:extLst>
          </p:cNvPr>
          <p:cNvCxnSpPr>
            <a:stCxn id="46" idx="1"/>
          </p:cNvCxnSpPr>
          <p:nvPr/>
        </p:nvCxnSpPr>
        <p:spPr bwMode="auto">
          <a:xfrm flipH="1" flipV="1">
            <a:off x="2536944" y="1913504"/>
            <a:ext cx="4068068" cy="1943038"/>
          </a:xfrm>
          <a:prstGeom prst="straightConnector1">
            <a:avLst/>
          </a:prstGeom>
          <a:ln>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69" name="Straight Arrow Connector 68">
            <a:extLst>
              <a:ext uri="{FF2B5EF4-FFF2-40B4-BE49-F238E27FC236}">
                <a16:creationId xmlns:a16="http://schemas.microsoft.com/office/drawing/2014/main" id="{473B2787-2295-674D-E877-3731748B4509}"/>
              </a:ext>
            </a:extLst>
          </p:cNvPr>
          <p:cNvCxnSpPr>
            <a:stCxn id="46" idx="1"/>
          </p:cNvCxnSpPr>
          <p:nvPr/>
        </p:nvCxnSpPr>
        <p:spPr bwMode="auto">
          <a:xfrm flipH="1" flipV="1">
            <a:off x="2800933" y="3144626"/>
            <a:ext cx="3804079" cy="711916"/>
          </a:xfrm>
          <a:prstGeom prst="straightConnector1">
            <a:avLst/>
          </a:prstGeom>
          <a:ln>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71" name="Straight Arrow Connector 70">
            <a:extLst>
              <a:ext uri="{FF2B5EF4-FFF2-40B4-BE49-F238E27FC236}">
                <a16:creationId xmlns:a16="http://schemas.microsoft.com/office/drawing/2014/main" id="{05D1F098-C1E3-16F9-07F4-61D2F7DA893A}"/>
              </a:ext>
            </a:extLst>
          </p:cNvPr>
          <p:cNvCxnSpPr>
            <a:stCxn id="46" idx="1"/>
          </p:cNvCxnSpPr>
          <p:nvPr/>
        </p:nvCxnSpPr>
        <p:spPr bwMode="auto">
          <a:xfrm flipH="1" flipV="1">
            <a:off x="2177806" y="3160810"/>
            <a:ext cx="4427206" cy="695732"/>
          </a:xfrm>
          <a:prstGeom prst="straightConnector1">
            <a:avLst/>
          </a:prstGeom>
          <a:ln>
            <a:headEnd type="none" w="med" len="med"/>
            <a:tailEnd type="triangle"/>
          </a:ln>
        </p:spPr>
        <p:style>
          <a:lnRef idx="1">
            <a:schemeClr val="accent3"/>
          </a:lnRef>
          <a:fillRef idx="0">
            <a:schemeClr val="accent3"/>
          </a:fillRef>
          <a:effectRef idx="0">
            <a:schemeClr val="accent3"/>
          </a:effectRef>
          <a:fontRef idx="minor">
            <a:schemeClr val="tx1"/>
          </a:fontRef>
        </p:style>
      </p:cxnSp>
      <p:cxnSp>
        <p:nvCxnSpPr>
          <p:cNvPr id="73" name="Straight Arrow Connector 72">
            <a:extLst>
              <a:ext uri="{FF2B5EF4-FFF2-40B4-BE49-F238E27FC236}">
                <a16:creationId xmlns:a16="http://schemas.microsoft.com/office/drawing/2014/main" id="{3CCA1294-B6BE-0D9D-4FAA-2294C43F06CC}"/>
              </a:ext>
            </a:extLst>
          </p:cNvPr>
          <p:cNvCxnSpPr>
            <a:stCxn id="48" idx="1"/>
          </p:cNvCxnSpPr>
          <p:nvPr/>
        </p:nvCxnSpPr>
        <p:spPr bwMode="auto">
          <a:xfrm flipH="1" flipV="1">
            <a:off x="2124266" y="1247471"/>
            <a:ext cx="4505686" cy="1764447"/>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6F8AEC96-AC19-B617-0670-E28A0EC3D324}"/>
              </a:ext>
            </a:extLst>
          </p:cNvPr>
          <p:cNvCxnSpPr>
            <a:stCxn id="48" idx="1"/>
            <a:endCxn id="44" idx="6"/>
          </p:cNvCxnSpPr>
          <p:nvPr/>
        </p:nvCxnSpPr>
        <p:spPr bwMode="auto">
          <a:xfrm flipH="1" flipV="1">
            <a:off x="2088788" y="2615564"/>
            <a:ext cx="4541164" cy="39635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76" name="Oval 75">
            <a:extLst>
              <a:ext uri="{FF2B5EF4-FFF2-40B4-BE49-F238E27FC236}">
                <a16:creationId xmlns:a16="http://schemas.microsoft.com/office/drawing/2014/main" id="{EC0ECFB1-4BC9-927F-AE48-B061F4062CF9}"/>
              </a:ext>
            </a:extLst>
          </p:cNvPr>
          <p:cNvSpPr/>
          <p:nvPr/>
        </p:nvSpPr>
        <p:spPr bwMode="auto">
          <a:xfrm>
            <a:off x="4243418" y="4128525"/>
            <a:ext cx="460638" cy="216737"/>
          </a:xfrm>
          <a:prstGeom prst="ellipse">
            <a:avLst/>
          </a:prstGeom>
          <a:noFill/>
          <a:ln w="19050" cap="flat" cmpd="sng" algn="ctr">
            <a:solidFill>
              <a:srgbClr val="FF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cxnSp>
        <p:nvCxnSpPr>
          <p:cNvPr id="78" name="Straight Arrow Connector 77">
            <a:extLst>
              <a:ext uri="{FF2B5EF4-FFF2-40B4-BE49-F238E27FC236}">
                <a16:creationId xmlns:a16="http://schemas.microsoft.com/office/drawing/2014/main" id="{B39FF61B-F60A-7D70-2F87-F2611C2BC41B}"/>
              </a:ext>
            </a:extLst>
          </p:cNvPr>
          <p:cNvCxnSpPr>
            <a:stCxn id="50" idx="1"/>
          </p:cNvCxnSpPr>
          <p:nvPr/>
        </p:nvCxnSpPr>
        <p:spPr bwMode="auto">
          <a:xfrm flipH="1" flipV="1">
            <a:off x="2135124" y="1242555"/>
            <a:ext cx="2037471" cy="304285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80" name="Straight Arrow Connector 79">
            <a:extLst>
              <a:ext uri="{FF2B5EF4-FFF2-40B4-BE49-F238E27FC236}">
                <a16:creationId xmlns:a16="http://schemas.microsoft.com/office/drawing/2014/main" id="{53274F26-2C90-281E-65A4-6178129753DE}"/>
              </a:ext>
            </a:extLst>
          </p:cNvPr>
          <p:cNvCxnSpPr>
            <a:stCxn id="50" idx="1"/>
          </p:cNvCxnSpPr>
          <p:nvPr/>
        </p:nvCxnSpPr>
        <p:spPr bwMode="auto">
          <a:xfrm flipH="1" flipV="1">
            <a:off x="2113728" y="2623901"/>
            <a:ext cx="2058867" cy="166150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604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US" sz="2000" dirty="0">
                <a:ea typeface="Times New Roman" panose="02020603050405020304" pitchFamily="18" charset="0"/>
              </a:rPr>
              <a:t>Example of usage of the DPM with SDMX</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7</a:t>
            </a:fld>
            <a:endParaRPr lang="en-GB" altLang="en-US" sz="900">
              <a:solidFill>
                <a:srgbClr val="FFFFFF"/>
              </a:solidFill>
            </a:endParaRPr>
          </a:p>
        </p:txBody>
      </p:sp>
      <p:pic>
        <p:nvPicPr>
          <p:cNvPr id="9" name="Picture 8">
            <a:extLst>
              <a:ext uri="{FF2B5EF4-FFF2-40B4-BE49-F238E27FC236}">
                <a16:creationId xmlns:a16="http://schemas.microsoft.com/office/drawing/2014/main" id="{CB108637-38B3-6B27-6342-81D4CE6BB02C}"/>
              </a:ext>
            </a:extLst>
          </p:cNvPr>
          <p:cNvPicPr>
            <a:picLocks noChangeAspect="1"/>
          </p:cNvPicPr>
          <p:nvPr/>
        </p:nvPicPr>
        <p:blipFill>
          <a:blip r:embed="rId6"/>
          <a:stretch>
            <a:fillRect/>
          </a:stretch>
        </p:blipFill>
        <p:spPr>
          <a:xfrm>
            <a:off x="365641" y="722428"/>
            <a:ext cx="3381336" cy="1483042"/>
          </a:xfrm>
          <a:prstGeom prst="rect">
            <a:avLst/>
          </a:prstGeom>
        </p:spPr>
      </p:pic>
      <p:pic>
        <p:nvPicPr>
          <p:cNvPr id="11" name="Picture 10">
            <a:extLst>
              <a:ext uri="{FF2B5EF4-FFF2-40B4-BE49-F238E27FC236}">
                <a16:creationId xmlns:a16="http://schemas.microsoft.com/office/drawing/2014/main" id="{2FAA256E-DC3C-EF67-27CF-AFBBDD6C2F6F}"/>
              </a:ext>
            </a:extLst>
          </p:cNvPr>
          <p:cNvPicPr>
            <a:picLocks noChangeAspect="1"/>
          </p:cNvPicPr>
          <p:nvPr/>
        </p:nvPicPr>
        <p:blipFill>
          <a:blip r:embed="rId7"/>
          <a:stretch>
            <a:fillRect/>
          </a:stretch>
        </p:blipFill>
        <p:spPr>
          <a:xfrm>
            <a:off x="365641" y="2205470"/>
            <a:ext cx="2274828" cy="2885604"/>
          </a:xfrm>
          <a:prstGeom prst="rect">
            <a:avLst/>
          </a:prstGeom>
        </p:spPr>
      </p:pic>
      <p:pic>
        <p:nvPicPr>
          <p:cNvPr id="12" name="Picture 11">
            <a:extLst>
              <a:ext uri="{FF2B5EF4-FFF2-40B4-BE49-F238E27FC236}">
                <a16:creationId xmlns:a16="http://schemas.microsoft.com/office/drawing/2014/main" id="{AAE93A4B-48C4-165F-E35A-2D468C477400}"/>
              </a:ext>
            </a:extLst>
          </p:cNvPr>
          <p:cNvPicPr>
            <a:picLocks noChangeAspect="1"/>
          </p:cNvPicPr>
          <p:nvPr/>
        </p:nvPicPr>
        <p:blipFill>
          <a:blip r:embed="rId8"/>
          <a:stretch>
            <a:fillRect/>
          </a:stretch>
        </p:blipFill>
        <p:spPr>
          <a:xfrm>
            <a:off x="4891246" y="562398"/>
            <a:ext cx="750378" cy="923935"/>
          </a:xfrm>
          <a:prstGeom prst="rect">
            <a:avLst/>
          </a:prstGeom>
        </p:spPr>
      </p:pic>
      <p:cxnSp>
        <p:nvCxnSpPr>
          <p:cNvPr id="14" name="Straight Arrow Connector 13">
            <a:extLst>
              <a:ext uri="{FF2B5EF4-FFF2-40B4-BE49-F238E27FC236}">
                <a16:creationId xmlns:a16="http://schemas.microsoft.com/office/drawing/2014/main" id="{AD7F4EBA-C4F2-23C2-C3EA-DCFAFFE919DD}"/>
              </a:ext>
            </a:extLst>
          </p:cNvPr>
          <p:cNvCxnSpPr>
            <a:stCxn id="12" idx="1"/>
          </p:cNvCxnSpPr>
          <p:nvPr/>
        </p:nvCxnSpPr>
        <p:spPr bwMode="auto">
          <a:xfrm flipH="1">
            <a:off x="935026" y="1024366"/>
            <a:ext cx="3956220" cy="11004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6" name="Straight Arrow Connector 15">
            <a:extLst>
              <a:ext uri="{FF2B5EF4-FFF2-40B4-BE49-F238E27FC236}">
                <a16:creationId xmlns:a16="http://schemas.microsoft.com/office/drawing/2014/main" id="{93BDECA7-8F10-97C1-A2A4-053C50DBAD44}"/>
              </a:ext>
            </a:extLst>
          </p:cNvPr>
          <p:cNvCxnSpPr>
            <a:stCxn id="12" idx="1"/>
          </p:cNvCxnSpPr>
          <p:nvPr/>
        </p:nvCxnSpPr>
        <p:spPr bwMode="auto">
          <a:xfrm flipH="1">
            <a:off x="873149" y="1024366"/>
            <a:ext cx="4018097" cy="31762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0" name="Straight Arrow Connector 19">
            <a:extLst>
              <a:ext uri="{FF2B5EF4-FFF2-40B4-BE49-F238E27FC236}">
                <a16:creationId xmlns:a16="http://schemas.microsoft.com/office/drawing/2014/main" id="{0AEC965B-DB99-9E65-8796-665CBC05C6F1}"/>
              </a:ext>
            </a:extLst>
          </p:cNvPr>
          <p:cNvCxnSpPr>
            <a:stCxn id="12" idx="1"/>
          </p:cNvCxnSpPr>
          <p:nvPr/>
        </p:nvCxnSpPr>
        <p:spPr bwMode="auto">
          <a:xfrm flipH="1">
            <a:off x="1086280" y="1024366"/>
            <a:ext cx="3804966" cy="619864"/>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 name="Straight Arrow Connector 21">
            <a:extLst>
              <a:ext uri="{FF2B5EF4-FFF2-40B4-BE49-F238E27FC236}">
                <a16:creationId xmlns:a16="http://schemas.microsoft.com/office/drawing/2014/main" id="{E0D00174-0993-C4B8-A1B4-CB1CCFB264B8}"/>
              </a:ext>
            </a:extLst>
          </p:cNvPr>
          <p:cNvCxnSpPr>
            <a:stCxn id="12" idx="1"/>
          </p:cNvCxnSpPr>
          <p:nvPr/>
        </p:nvCxnSpPr>
        <p:spPr bwMode="auto">
          <a:xfrm flipH="1">
            <a:off x="1381913" y="1024366"/>
            <a:ext cx="3509333" cy="827242"/>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4" name="Straight Arrow Connector 23">
            <a:extLst>
              <a:ext uri="{FF2B5EF4-FFF2-40B4-BE49-F238E27FC236}">
                <a16:creationId xmlns:a16="http://schemas.microsoft.com/office/drawing/2014/main" id="{3CE77DFB-3C50-46C7-AC0E-7D750072102E}"/>
              </a:ext>
            </a:extLst>
          </p:cNvPr>
          <p:cNvCxnSpPr>
            <a:stCxn id="12" idx="1"/>
          </p:cNvCxnSpPr>
          <p:nvPr/>
        </p:nvCxnSpPr>
        <p:spPr bwMode="auto">
          <a:xfrm flipH="1">
            <a:off x="1457540" y="1024366"/>
            <a:ext cx="3433706" cy="986319"/>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0" name="TextBox 29">
            <a:extLst>
              <a:ext uri="{FF2B5EF4-FFF2-40B4-BE49-F238E27FC236}">
                <a16:creationId xmlns:a16="http://schemas.microsoft.com/office/drawing/2014/main" id="{0F9E7D4C-74EA-BCCD-EADE-4C355C2AD9A9}"/>
              </a:ext>
            </a:extLst>
          </p:cNvPr>
          <p:cNvSpPr txBox="1"/>
          <p:nvPr/>
        </p:nvSpPr>
        <p:spPr>
          <a:xfrm>
            <a:off x="2833812" y="586418"/>
            <a:ext cx="1555234" cy="246221"/>
          </a:xfrm>
          <a:prstGeom prst="rect">
            <a:avLst/>
          </a:prstGeom>
          <a:noFill/>
        </p:spPr>
        <p:txBody>
          <a:bodyPr wrap="none" rtlCol="0">
            <a:spAutoFit/>
          </a:bodyPr>
          <a:lstStyle/>
          <a:p>
            <a:r>
              <a:rPr lang="en-GB" sz="1000" dirty="0"/>
              <a:t>Dataset =Exchange rate</a:t>
            </a:r>
          </a:p>
        </p:txBody>
      </p:sp>
      <p:cxnSp>
        <p:nvCxnSpPr>
          <p:cNvPr id="32" name="Straight Arrow Connector 31">
            <a:extLst>
              <a:ext uri="{FF2B5EF4-FFF2-40B4-BE49-F238E27FC236}">
                <a16:creationId xmlns:a16="http://schemas.microsoft.com/office/drawing/2014/main" id="{3D0E5603-7C35-8C88-6274-2DA87EC7AAAE}"/>
              </a:ext>
            </a:extLst>
          </p:cNvPr>
          <p:cNvCxnSpPr>
            <a:stCxn id="12" idx="1"/>
          </p:cNvCxnSpPr>
          <p:nvPr/>
        </p:nvCxnSpPr>
        <p:spPr bwMode="auto">
          <a:xfrm flipH="1" flipV="1">
            <a:off x="3354258" y="794350"/>
            <a:ext cx="1536988" cy="230016"/>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34" name="Picture 33">
            <a:extLst>
              <a:ext uri="{FF2B5EF4-FFF2-40B4-BE49-F238E27FC236}">
                <a16:creationId xmlns:a16="http://schemas.microsoft.com/office/drawing/2014/main" id="{D5903F88-E7D0-2C31-4484-A505142107BB}"/>
              </a:ext>
            </a:extLst>
          </p:cNvPr>
          <p:cNvPicPr>
            <a:picLocks noChangeAspect="1"/>
          </p:cNvPicPr>
          <p:nvPr/>
        </p:nvPicPr>
        <p:blipFill>
          <a:blip r:embed="rId9"/>
          <a:stretch>
            <a:fillRect/>
          </a:stretch>
        </p:blipFill>
        <p:spPr>
          <a:xfrm>
            <a:off x="6084424" y="562398"/>
            <a:ext cx="750378" cy="1325486"/>
          </a:xfrm>
          <a:prstGeom prst="rect">
            <a:avLst/>
          </a:prstGeom>
        </p:spPr>
      </p:pic>
      <p:pic>
        <p:nvPicPr>
          <p:cNvPr id="36" name="Picture 35">
            <a:extLst>
              <a:ext uri="{FF2B5EF4-FFF2-40B4-BE49-F238E27FC236}">
                <a16:creationId xmlns:a16="http://schemas.microsoft.com/office/drawing/2014/main" id="{7EAEDA01-545B-03E5-33D9-6331EB8CD878}"/>
              </a:ext>
            </a:extLst>
          </p:cNvPr>
          <p:cNvPicPr>
            <a:picLocks noChangeAspect="1"/>
          </p:cNvPicPr>
          <p:nvPr/>
        </p:nvPicPr>
        <p:blipFill>
          <a:blip r:embed="rId10"/>
          <a:stretch>
            <a:fillRect/>
          </a:stretch>
        </p:blipFill>
        <p:spPr>
          <a:xfrm>
            <a:off x="7234084" y="623354"/>
            <a:ext cx="794975" cy="456032"/>
          </a:xfrm>
          <a:prstGeom prst="rect">
            <a:avLst/>
          </a:prstGeom>
        </p:spPr>
      </p:pic>
      <p:pic>
        <p:nvPicPr>
          <p:cNvPr id="38" name="Picture 37">
            <a:extLst>
              <a:ext uri="{FF2B5EF4-FFF2-40B4-BE49-F238E27FC236}">
                <a16:creationId xmlns:a16="http://schemas.microsoft.com/office/drawing/2014/main" id="{A6856B8E-1549-4761-2221-9C4625E813A4}"/>
              </a:ext>
            </a:extLst>
          </p:cNvPr>
          <p:cNvPicPr>
            <a:picLocks noChangeAspect="1"/>
          </p:cNvPicPr>
          <p:nvPr/>
        </p:nvPicPr>
        <p:blipFill>
          <a:blip r:embed="rId11"/>
          <a:stretch>
            <a:fillRect/>
          </a:stretch>
        </p:blipFill>
        <p:spPr>
          <a:xfrm>
            <a:off x="4967022" y="1744508"/>
            <a:ext cx="598825" cy="827242"/>
          </a:xfrm>
          <a:prstGeom prst="rect">
            <a:avLst/>
          </a:prstGeom>
        </p:spPr>
      </p:pic>
      <p:cxnSp>
        <p:nvCxnSpPr>
          <p:cNvPr id="40" name="Straight Arrow Connector 39">
            <a:extLst>
              <a:ext uri="{FF2B5EF4-FFF2-40B4-BE49-F238E27FC236}">
                <a16:creationId xmlns:a16="http://schemas.microsoft.com/office/drawing/2014/main" id="{4454CAA2-7544-378E-0F7C-5E1AA6FFCCB3}"/>
              </a:ext>
            </a:extLst>
          </p:cNvPr>
          <p:cNvCxnSpPr>
            <a:stCxn id="38" idx="1"/>
          </p:cNvCxnSpPr>
          <p:nvPr/>
        </p:nvCxnSpPr>
        <p:spPr bwMode="auto">
          <a:xfrm flipH="1" flipV="1">
            <a:off x="2303188" y="1134406"/>
            <a:ext cx="2663834" cy="1023723"/>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2" name="Straight Arrow Connector 41">
            <a:extLst>
              <a:ext uri="{FF2B5EF4-FFF2-40B4-BE49-F238E27FC236}">
                <a16:creationId xmlns:a16="http://schemas.microsoft.com/office/drawing/2014/main" id="{936B8021-C4CE-ED00-F22D-8E20C7E1E9CE}"/>
              </a:ext>
            </a:extLst>
          </p:cNvPr>
          <p:cNvCxnSpPr>
            <a:stCxn id="38" idx="1"/>
          </p:cNvCxnSpPr>
          <p:nvPr/>
        </p:nvCxnSpPr>
        <p:spPr bwMode="auto">
          <a:xfrm flipH="1" flipV="1">
            <a:off x="2790249" y="1391776"/>
            <a:ext cx="2176773" cy="766353"/>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4" name="Straight Arrow Connector 43">
            <a:extLst>
              <a:ext uri="{FF2B5EF4-FFF2-40B4-BE49-F238E27FC236}">
                <a16:creationId xmlns:a16="http://schemas.microsoft.com/office/drawing/2014/main" id="{2CCDB12E-34F0-FA9A-2CC5-B528FE272F88}"/>
              </a:ext>
            </a:extLst>
          </p:cNvPr>
          <p:cNvCxnSpPr>
            <a:stCxn id="38" idx="1"/>
          </p:cNvCxnSpPr>
          <p:nvPr/>
        </p:nvCxnSpPr>
        <p:spPr bwMode="auto">
          <a:xfrm flipH="1" flipV="1">
            <a:off x="2248186" y="1565824"/>
            <a:ext cx="2718836" cy="592305"/>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6" name="Straight Arrow Connector 45">
            <a:extLst>
              <a:ext uri="{FF2B5EF4-FFF2-40B4-BE49-F238E27FC236}">
                <a16:creationId xmlns:a16="http://schemas.microsoft.com/office/drawing/2014/main" id="{854B9858-4866-BDDA-2F8D-39481A8F41E5}"/>
              </a:ext>
            </a:extLst>
          </p:cNvPr>
          <p:cNvCxnSpPr>
            <a:stCxn id="38" idx="1"/>
          </p:cNvCxnSpPr>
          <p:nvPr/>
        </p:nvCxnSpPr>
        <p:spPr bwMode="auto">
          <a:xfrm flipH="1" flipV="1">
            <a:off x="3471970" y="1898949"/>
            <a:ext cx="1495052" cy="259180"/>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8" name="Straight Arrow Connector 47">
            <a:extLst>
              <a:ext uri="{FF2B5EF4-FFF2-40B4-BE49-F238E27FC236}">
                <a16:creationId xmlns:a16="http://schemas.microsoft.com/office/drawing/2014/main" id="{FCD21507-BEE4-E301-EAE4-BC5E70BE0314}"/>
              </a:ext>
            </a:extLst>
          </p:cNvPr>
          <p:cNvCxnSpPr>
            <a:stCxn id="38" idx="1"/>
          </p:cNvCxnSpPr>
          <p:nvPr/>
        </p:nvCxnSpPr>
        <p:spPr bwMode="auto">
          <a:xfrm flipH="1" flipV="1">
            <a:off x="2248186" y="1978488"/>
            <a:ext cx="2718836" cy="179641"/>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50" name="Straight Arrow Connector 49">
            <a:extLst>
              <a:ext uri="{FF2B5EF4-FFF2-40B4-BE49-F238E27FC236}">
                <a16:creationId xmlns:a16="http://schemas.microsoft.com/office/drawing/2014/main" id="{E8988A3D-4658-ABAB-0E5E-A74727D71E4D}"/>
              </a:ext>
            </a:extLst>
          </p:cNvPr>
          <p:cNvCxnSpPr>
            <a:cxnSpLocks/>
            <a:stCxn id="38" idx="1"/>
          </p:cNvCxnSpPr>
          <p:nvPr/>
        </p:nvCxnSpPr>
        <p:spPr bwMode="auto">
          <a:xfrm flipH="1" flipV="1">
            <a:off x="4042610" y="794350"/>
            <a:ext cx="924412" cy="1363779"/>
          </a:xfrm>
          <a:prstGeom prst="straightConnector1">
            <a:avLst/>
          </a:prstGeom>
          <a:ln>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54" name="Arrow: Right 53">
            <a:extLst>
              <a:ext uri="{FF2B5EF4-FFF2-40B4-BE49-F238E27FC236}">
                <a16:creationId xmlns:a16="http://schemas.microsoft.com/office/drawing/2014/main" id="{3B445929-03C5-501E-3D99-787D7B0EF77A}"/>
              </a:ext>
            </a:extLst>
          </p:cNvPr>
          <p:cNvSpPr/>
          <p:nvPr/>
        </p:nvSpPr>
        <p:spPr bwMode="auto">
          <a:xfrm>
            <a:off x="5641624" y="909358"/>
            <a:ext cx="399282" cy="115008"/>
          </a:xfrm>
          <a:prstGeom prst="rightArrow">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55" name="Arrow: Right 54">
            <a:extLst>
              <a:ext uri="{FF2B5EF4-FFF2-40B4-BE49-F238E27FC236}">
                <a16:creationId xmlns:a16="http://schemas.microsoft.com/office/drawing/2014/main" id="{9CAB29BA-1DFE-745A-C109-D749376D4BAE}"/>
              </a:ext>
            </a:extLst>
          </p:cNvPr>
          <p:cNvSpPr/>
          <p:nvPr/>
        </p:nvSpPr>
        <p:spPr bwMode="auto">
          <a:xfrm rot="19471649">
            <a:off x="5544419" y="1905670"/>
            <a:ext cx="513778" cy="104733"/>
          </a:xfrm>
          <a:prstGeom prst="rightArrow">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56" name="Arrow: Right 55">
            <a:extLst>
              <a:ext uri="{FF2B5EF4-FFF2-40B4-BE49-F238E27FC236}">
                <a16:creationId xmlns:a16="http://schemas.microsoft.com/office/drawing/2014/main" id="{59AA6AE8-A28B-AF01-FBA3-E3B223063368}"/>
              </a:ext>
            </a:extLst>
          </p:cNvPr>
          <p:cNvSpPr/>
          <p:nvPr/>
        </p:nvSpPr>
        <p:spPr bwMode="auto">
          <a:xfrm>
            <a:off x="6838323" y="808890"/>
            <a:ext cx="399282" cy="115008"/>
          </a:xfrm>
          <a:prstGeom prst="rightArrow">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57" name="TextBox 56">
            <a:extLst>
              <a:ext uri="{FF2B5EF4-FFF2-40B4-BE49-F238E27FC236}">
                <a16:creationId xmlns:a16="http://schemas.microsoft.com/office/drawing/2014/main" id="{8088CDB8-FAB0-3383-4718-45A6D194C4C0}"/>
              </a:ext>
            </a:extLst>
          </p:cNvPr>
          <p:cNvSpPr txBox="1"/>
          <p:nvPr/>
        </p:nvSpPr>
        <p:spPr>
          <a:xfrm>
            <a:off x="7206696" y="1102030"/>
            <a:ext cx="846707" cy="246221"/>
          </a:xfrm>
          <a:prstGeom prst="rect">
            <a:avLst/>
          </a:prstGeom>
          <a:noFill/>
        </p:spPr>
        <p:txBody>
          <a:bodyPr wrap="none" rtlCol="0">
            <a:spAutoFit/>
          </a:bodyPr>
          <a:lstStyle/>
          <a:p>
            <a:r>
              <a:rPr lang="en-GB" sz="1000" dirty="0"/>
              <a:t>Time series</a:t>
            </a:r>
          </a:p>
        </p:txBody>
      </p:sp>
      <p:cxnSp>
        <p:nvCxnSpPr>
          <p:cNvPr id="59" name="Straight Arrow Connector 58">
            <a:extLst>
              <a:ext uri="{FF2B5EF4-FFF2-40B4-BE49-F238E27FC236}">
                <a16:creationId xmlns:a16="http://schemas.microsoft.com/office/drawing/2014/main" id="{5F4C072F-A522-6F81-A410-62B2D09C900B}"/>
              </a:ext>
            </a:extLst>
          </p:cNvPr>
          <p:cNvCxnSpPr>
            <a:stCxn id="12" idx="1"/>
          </p:cNvCxnSpPr>
          <p:nvPr/>
        </p:nvCxnSpPr>
        <p:spPr bwMode="auto">
          <a:xfrm flipH="1">
            <a:off x="996902" y="1024366"/>
            <a:ext cx="3894344" cy="1395700"/>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1" name="Straight Arrow Connector 60">
            <a:extLst>
              <a:ext uri="{FF2B5EF4-FFF2-40B4-BE49-F238E27FC236}">
                <a16:creationId xmlns:a16="http://schemas.microsoft.com/office/drawing/2014/main" id="{4ECA9EE5-6CAB-DBDE-84A6-489A6DC8327B}"/>
              </a:ext>
            </a:extLst>
          </p:cNvPr>
          <p:cNvCxnSpPr>
            <a:stCxn id="12" idx="1"/>
          </p:cNvCxnSpPr>
          <p:nvPr/>
        </p:nvCxnSpPr>
        <p:spPr bwMode="auto">
          <a:xfrm flipH="1">
            <a:off x="2640469" y="1024366"/>
            <a:ext cx="2250777" cy="1326948"/>
          </a:xfrm>
          <a:prstGeom prst="straightConnector1">
            <a:avLst/>
          </a:prstGeom>
          <a:solidFill>
            <a:schemeClr val="tx2"/>
          </a:solidFill>
          <a:ln w="9525" cap="flat" cmpd="sng" algn="ctr">
            <a:solidFill>
              <a:schemeClr val="tx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 name="TextBox 2">
            <a:extLst>
              <a:ext uri="{FF2B5EF4-FFF2-40B4-BE49-F238E27FC236}">
                <a16:creationId xmlns:a16="http://schemas.microsoft.com/office/drawing/2014/main" id="{2B709461-E7E0-6177-FF04-E6D9B1D4C60C}"/>
              </a:ext>
            </a:extLst>
          </p:cNvPr>
          <p:cNvSpPr txBox="1"/>
          <p:nvPr/>
        </p:nvSpPr>
        <p:spPr>
          <a:xfrm>
            <a:off x="3174393" y="2606033"/>
            <a:ext cx="5857065" cy="2431435"/>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Any collection in SDMX can be modelled in DPM 2.0 with the following mapping:</a:t>
            </a:r>
          </a:p>
          <a:p>
            <a:pPr marL="742950" lvl="1" indent="-285750">
              <a:buFont typeface="Wingdings" panose="05000000000000000000" pitchFamily="2" charset="2"/>
              <a:buChar char="q"/>
            </a:pPr>
            <a:r>
              <a:rPr lang="en-GB" altLang="en-US" sz="1400" dirty="0"/>
              <a:t>Each data structure definition can be represented by a Table</a:t>
            </a:r>
          </a:p>
          <a:p>
            <a:pPr marL="742950" lvl="1" indent="-285750">
              <a:buFont typeface="Wingdings" panose="05000000000000000000" pitchFamily="2" charset="2"/>
              <a:buChar char="q"/>
            </a:pPr>
            <a:r>
              <a:rPr lang="en-GB" altLang="en-US" sz="1400" dirty="0"/>
              <a:t>Code Lists are mapped to Categories</a:t>
            </a:r>
            <a:endParaRPr lang="en-GB" altLang="en-US" sz="1400" dirty="0">
              <a:solidFill>
                <a:srgbClr val="FF0000"/>
              </a:solidFill>
            </a:endParaRPr>
          </a:p>
          <a:p>
            <a:pPr marL="742950" lvl="1" indent="-285750">
              <a:buFont typeface="Wingdings" panose="05000000000000000000" pitchFamily="2" charset="2"/>
              <a:buChar char="q"/>
            </a:pPr>
            <a:r>
              <a:rPr lang="en-GB" altLang="en-US" sz="1400" dirty="0"/>
              <a:t>Codes are mapped to Items</a:t>
            </a:r>
            <a:endParaRPr lang="en-GB" altLang="en-US" sz="1400" dirty="0">
              <a:solidFill>
                <a:srgbClr val="FF0000"/>
              </a:solidFill>
            </a:endParaRPr>
          </a:p>
          <a:p>
            <a:pPr marL="742950" lvl="1" indent="-285750">
              <a:buFont typeface="Wingdings" panose="05000000000000000000" pitchFamily="2" charset="2"/>
              <a:buChar char="q"/>
            </a:pPr>
            <a:r>
              <a:rPr lang="en-GB" altLang="en-US" sz="1400" dirty="0"/>
              <a:t>Hierarchical Code Lists are mapped to Subcategories</a:t>
            </a:r>
            <a:endParaRPr lang="en-GB" altLang="en-US" sz="1400" dirty="0">
              <a:solidFill>
                <a:srgbClr val="FF0000"/>
              </a:solidFill>
            </a:endParaRPr>
          </a:p>
          <a:p>
            <a:pPr marL="742950" lvl="1" indent="-285750">
              <a:buFont typeface="Wingdings" panose="05000000000000000000" pitchFamily="2" charset="2"/>
              <a:buChar char="q"/>
            </a:pPr>
            <a:r>
              <a:rPr lang="en-GB" altLang="en-US" sz="1400" dirty="0"/>
              <a:t>Dimensions are mapped to Properties</a:t>
            </a:r>
          </a:p>
          <a:p>
            <a:pPr marL="742950" lvl="1" indent="-285750">
              <a:buFont typeface="Wingdings" panose="05000000000000000000" pitchFamily="2" charset="2"/>
              <a:buChar char="q"/>
            </a:pPr>
            <a:r>
              <a:rPr lang="en-GB" altLang="en-US" sz="1400" dirty="0"/>
              <a:t>Key Variables are composed of Properties</a:t>
            </a:r>
          </a:p>
          <a:p>
            <a:pPr marL="742950" lvl="1" indent="-285750">
              <a:buFont typeface="Wingdings" panose="05000000000000000000" pitchFamily="2" charset="2"/>
              <a:buChar char="q"/>
            </a:pPr>
            <a:r>
              <a:rPr lang="en-GB" altLang="en-US" sz="1400" dirty="0"/>
              <a:t>Attributes are mapped to Attribute Variables</a:t>
            </a:r>
          </a:p>
          <a:p>
            <a:endParaRPr lang="en-GB" dirty="0"/>
          </a:p>
        </p:txBody>
      </p:sp>
      <p:sp>
        <p:nvSpPr>
          <p:cNvPr id="7" name="TextBox 6">
            <a:extLst>
              <a:ext uri="{FF2B5EF4-FFF2-40B4-BE49-F238E27FC236}">
                <a16:creationId xmlns:a16="http://schemas.microsoft.com/office/drawing/2014/main" id="{687F0B2B-D73D-208D-0834-7D1EEF6ABAD6}"/>
              </a:ext>
            </a:extLst>
          </p:cNvPr>
          <p:cNvSpPr txBox="1"/>
          <p:nvPr/>
        </p:nvSpPr>
        <p:spPr>
          <a:xfrm>
            <a:off x="315636" y="520377"/>
            <a:ext cx="4091559" cy="246221"/>
          </a:xfrm>
          <a:prstGeom prst="rect">
            <a:avLst/>
          </a:prstGeom>
          <a:noFill/>
        </p:spPr>
        <p:txBody>
          <a:bodyPr wrap="square">
            <a:spAutoFit/>
          </a:bodyPr>
          <a:lstStyle/>
          <a:p>
            <a:r>
              <a:rPr lang="en-GB" altLang="en-US" sz="1000" dirty="0"/>
              <a:t>E.g. </a:t>
            </a:r>
            <a:r>
              <a:rPr lang="en-US" sz="1000" b="0" i="0" dirty="0">
                <a:solidFill>
                  <a:srgbClr val="525252"/>
                </a:solidFill>
                <a:effectLst/>
                <a:latin typeface="Open Sans" panose="020B0606030504020204" pitchFamily="34" charset="0"/>
              </a:rPr>
              <a:t>Series key: EXR.M.E03.EUR.ERC0.A</a:t>
            </a:r>
            <a:endParaRPr lang="en-GB" sz="1000" dirty="0"/>
          </a:p>
        </p:txBody>
      </p:sp>
    </p:spTree>
    <p:extLst>
      <p:ext uri="{BB962C8B-B14F-4D97-AF65-F5344CB8AC3E}">
        <p14:creationId xmlns:p14="http://schemas.microsoft.com/office/powerpoint/2010/main" val="1948340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2087" b="1252"/>
          <a:stretch/>
        </p:blipFill>
        <p:spPr>
          <a:xfrm>
            <a:off x="1" y="-3175"/>
            <a:ext cx="4621213" cy="5146675"/>
          </a:xfrm>
        </p:spPr>
      </p:pic>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18</a:t>
            </a:fld>
            <a:endParaRPr altLang="en-US" sz="900">
              <a:solidFill>
                <a:schemeClr val="bg1"/>
              </a:solidFill>
              <a:ea typeface="ヒラギノ角ゴ Pro W3"/>
              <a:cs typeface="ヒラギノ角ゴ Pro W3"/>
            </a:endParaRPr>
          </a:p>
        </p:txBody>
      </p:sp>
      <p:sp>
        <p:nvSpPr>
          <p:cNvPr id="4" name="Text Placeholder 3"/>
          <p:cNvSpPr>
            <a:spLocks noGrp="1"/>
          </p:cNvSpPr>
          <p:nvPr>
            <p:ph type="body" sz="quarter" idx="13"/>
          </p:nvPr>
        </p:nvSpPr>
        <p:spPr>
          <a:xfrm>
            <a:off x="4772025" y="1432229"/>
            <a:ext cx="4314425" cy="1988530"/>
          </a:xfrm>
        </p:spPr>
        <p:txBody>
          <a:bodyPr>
            <a:normAutofit/>
          </a:bodyPr>
          <a:lstStyle/>
          <a:p>
            <a:pPr>
              <a:defRPr/>
            </a:pPr>
            <a:r>
              <a:rPr lang="en-GB" sz="4800" dirty="0"/>
              <a:t>4. </a:t>
            </a:r>
            <a:r>
              <a:rPr lang="en-US" sz="4800" dirty="0"/>
              <a:t>Usage of DPM by </a:t>
            </a:r>
            <a:r>
              <a:rPr lang="en-US" sz="4800" dirty="0" err="1"/>
              <a:t>IReF</a:t>
            </a:r>
            <a:endParaRPr lang="en-US" sz="4800" dirty="0"/>
          </a:p>
        </p:txBody>
      </p:sp>
    </p:spTree>
    <p:extLst>
      <p:ext uri="{BB962C8B-B14F-4D97-AF65-F5344CB8AC3E}">
        <p14:creationId xmlns:p14="http://schemas.microsoft.com/office/powerpoint/2010/main" val="4060656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US" sz="2000" dirty="0">
                <a:ea typeface="Times New Roman" panose="02020603050405020304" pitchFamily="18" charset="0"/>
              </a:rPr>
              <a:t>Usage of DPM by </a:t>
            </a:r>
            <a:r>
              <a:rPr lang="en-US" sz="2000" dirty="0" err="1">
                <a:ea typeface="Times New Roman" panose="02020603050405020304" pitchFamily="18" charset="0"/>
              </a:rPr>
              <a:t>IReF</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19</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3" y="671990"/>
            <a:ext cx="7892695" cy="3739485"/>
          </a:xfrm>
          <a:prstGeom prst="rect">
            <a:avLst/>
          </a:prstGeom>
          <a:noFill/>
        </p:spPr>
        <p:txBody>
          <a:bodyPr wrap="square" rtlCol="0">
            <a:spAutoFit/>
          </a:bodyPr>
          <a:lstStyle/>
          <a:p>
            <a:pPr marL="285750" indent="-285750">
              <a:buFont typeface="Arial" panose="020B0604020202020204" pitchFamily="34" charset="0"/>
              <a:buChar char="•"/>
            </a:pPr>
            <a:r>
              <a:rPr lang="en-US" altLang="en-US" dirty="0"/>
              <a:t>Assessment and Proof of Concept</a:t>
            </a:r>
          </a:p>
          <a:p>
            <a:pPr marL="0" indent="0">
              <a:spcBef>
                <a:spcPts val="600"/>
              </a:spcBef>
              <a:spcAft>
                <a:spcPts val="600"/>
              </a:spcAft>
              <a:buNone/>
            </a:pPr>
            <a:r>
              <a:rPr lang="en-US" sz="1400" b="1" i="1" dirty="0"/>
              <a:t>In scope</a:t>
            </a:r>
          </a:p>
          <a:p>
            <a:pPr marL="342900" indent="-342900">
              <a:spcBef>
                <a:spcPts val="600"/>
              </a:spcBef>
              <a:spcAft>
                <a:spcPts val="600"/>
              </a:spcAft>
              <a:buFont typeface="Wingdings" panose="05000000000000000000" pitchFamily="2" charset="2"/>
              <a:buChar char="q"/>
            </a:pPr>
            <a:r>
              <a:rPr lang="en-US" sz="1400" dirty="0"/>
              <a:t>Assessment of DPM (refit) meta model (“metamodel”) capability “</a:t>
            </a:r>
            <a:r>
              <a:rPr lang="en-US" sz="1400" i="1" dirty="0"/>
              <a:t>[…] for modelling and hosting the </a:t>
            </a:r>
            <a:r>
              <a:rPr lang="en-US" sz="1400" i="1" dirty="0" err="1"/>
              <a:t>IReF</a:t>
            </a:r>
            <a:r>
              <a:rPr lang="en-US" sz="1400" i="1" dirty="0"/>
              <a:t> implementation model as well as its underlying logical data model</a:t>
            </a:r>
            <a:r>
              <a:rPr lang="en-US" sz="1400" dirty="0"/>
              <a:t>”</a:t>
            </a:r>
          </a:p>
          <a:p>
            <a:pPr marL="342900" indent="-342900">
              <a:spcBef>
                <a:spcPts val="600"/>
              </a:spcBef>
              <a:spcAft>
                <a:spcPts val="600"/>
              </a:spcAft>
              <a:buFont typeface="Wingdings" panose="05000000000000000000" pitchFamily="2" charset="2"/>
              <a:buChar char="q"/>
            </a:pPr>
            <a:r>
              <a:rPr lang="en-US" sz="1400" dirty="0"/>
              <a:t>PoC reflecting DPM refit metamodel structure populated by EBA based on use case provided by </a:t>
            </a:r>
            <a:r>
              <a:rPr lang="en-US" sz="1400" dirty="0" err="1"/>
              <a:t>IReF</a:t>
            </a:r>
            <a:r>
              <a:rPr lang="en-US" sz="1400" dirty="0"/>
              <a:t> PO</a:t>
            </a:r>
          </a:p>
          <a:p>
            <a:pPr marL="342900" indent="-342900">
              <a:spcBef>
                <a:spcPts val="600"/>
              </a:spcBef>
              <a:spcAft>
                <a:spcPts val="600"/>
              </a:spcAft>
              <a:buFont typeface="Wingdings" panose="05000000000000000000" pitchFamily="2" charset="2"/>
              <a:buChar char="q"/>
            </a:pPr>
            <a:r>
              <a:rPr lang="en-US" sz="1400" dirty="0"/>
              <a:t>Only initial population of the metamodel, no further updates / changes to the </a:t>
            </a:r>
            <a:r>
              <a:rPr lang="en-US" sz="1400" dirty="0" err="1"/>
              <a:t>IReF</a:t>
            </a:r>
            <a:r>
              <a:rPr lang="en-US" sz="1400" dirty="0"/>
              <a:t> models have been assessed</a:t>
            </a:r>
          </a:p>
          <a:p>
            <a:pPr marL="0" indent="0">
              <a:spcBef>
                <a:spcPts val="600"/>
              </a:spcBef>
              <a:spcAft>
                <a:spcPts val="600"/>
              </a:spcAft>
              <a:buNone/>
            </a:pPr>
            <a:r>
              <a:rPr lang="en-US" sz="1400" b="1" i="1" dirty="0"/>
              <a:t>Out of scope</a:t>
            </a:r>
          </a:p>
          <a:p>
            <a:pPr marL="342900" indent="-342900">
              <a:spcBef>
                <a:spcPts val="600"/>
              </a:spcBef>
              <a:spcAft>
                <a:spcPts val="600"/>
              </a:spcAft>
              <a:buFont typeface="Wingdings" panose="05000000000000000000" pitchFamily="2" charset="2"/>
              <a:buChar char="q"/>
            </a:pPr>
            <a:r>
              <a:rPr lang="en-US" sz="1400" dirty="0"/>
              <a:t>Assessment of tools, user interfaces and usability by users</a:t>
            </a:r>
          </a:p>
          <a:p>
            <a:pPr marL="342900" indent="-342900">
              <a:spcBef>
                <a:spcPts val="600"/>
              </a:spcBef>
              <a:spcAft>
                <a:spcPts val="600"/>
              </a:spcAft>
              <a:buFont typeface="Wingdings" panose="05000000000000000000" pitchFamily="2" charset="2"/>
              <a:buChar char="q"/>
            </a:pPr>
            <a:r>
              <a:rPr lang="en-US" sz="1400" dirty="0"/>
              <a:t>Integration of the metamodel into IT environments, compatibility with other dictionaries / software</a:t>
            </a:r>
          </a:p>
        </p:txBody>
      </p:sp>
    </p:spTree>
    <p:extLst>
      <p:ext uri="{BB962C8B-B14F-4D97-AF65-F5344CB8AC3E}">
        <p14:creationId xmlns:p14="http://schemas.microsoft.com/office/powerpoint/2010/main" val="26619560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674"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29699" name="Rectangle 4"/>
          <p:cNvSpPr>
            <a:spLocks noGrp="1" noChangeArrowheads="1"/>
          </p:cNvSpPr>
          <p:nvPr>
            <p:ph type="title"/>
          </p:nvPr>
        </p:nvSpPr>
        <p:spPr>
          <a:xfrm>
            <a:off x="914400" y="796925"/>
            <a:ext cx="5902779" cy="355732"/>
          </a:xfrm>
        </p:spPr>
        <p:txBody>
          <a:bodyPr/>
          <a:lstStyle/>
          <a:p>
            <a:pPr eaLnBrk="1" hangingPunct="1">
              <a:lnSpc>
                <a:spcPts val="2800"/>
              </a:lnSpc>
              <a:defRPr/>
            </a:pPr>
            <a:r>
              <a:rPr sz="4800" dirty="0"/>
              <a:t>Overview</a:t>
            </a:r>
          </a:p>
        </p:txBody>
      </p:sp>
      <p:sp>
        <p:nvSpPr>
          <p:cNvPr id="28676" name="Slide Number Placeholder 3"/>
          <p:cNvSpPr>
            <a:spLocks noGrp="1"/>
          </p:cNvSpPr>
          <p:nvPr>
            <p:ph type="sldNum" sz="quarter" idx="10"/>
          </p:nvPr>
        </p:nvSpPr>
        <p:spPr bwMode="auto">
          <a:xfrm>
            <a:off x="4358263" y="4822465"/>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056D7F0C-1CD7-412D-BEA5-28A788BE0764}" type="slidenum">
              <a:rPr altLang="en-US" sz="900" smtClean="0">
                <a:solidFill>
                  <a:schemeClr val="bg1"/>
                </a:solidFill>
              </a:rPr>
              <a:pPr eaLnBrk="1" hangingPunct="1">
                <a:lnSpc>
                  <a:spcPct val="100000"/>
                </a:lnSpc>
                <a:spcBef>
                  <a:spcPct val="0"/>
                </a:spcBef>
                <a:buClrTx/>
              </a:pPr>
              <a:t>2</a:t>
            </a:fld>
            <a:endParaRPr altLang="en-US" sz="900">
              <a:solidFill>
                <a:schemeClr val="bg1"/>
              </a:solidFill>
            </a:endParaRPr>
          </a:p>
        </p:txBody>
      </p:sp>
      <p:sp>
        <p:nvSpPr>
          <p:cNvPr id="8" name="Rectangle 7">
            <a:extLst>
              <a:ext uri="{FF2B5EF4-FFF2-40B4-BE49-F238E27FC236}">
                <a16:creationId xmlns:a16="http://schemas.microsoft.com/office/drawing/2014/main" id="{16001377-058D-2062-1437-D26529B93E55}"/>
              </a:ext>
            </a:extLst>
          </p:cNvPr>
          <p:cNvSpPr>
            <a:spLocks noChangeArrowheads="1"/>
          </p:cNvSpPr>
          <p:nvPr>
            <p:custDataLst>
              <p:tags r:id="rId1"/>
            </p:custDataLst>
          </p:nvPr>
        </p:nvSpPr>
        <p:spPr bwMode="auto">
          <a:xfrm>
            <a:off x="914400" y="1769947"/>
            <a:ext cx="383664" cy="355732"/>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US" altLang="en-US" sz="2400" b="1" dirty="0">
                <a:solidFill>
                  <a:srgbClr val="FFFFFF"/>
                </a:solidFill>
              </a:rPr>
              <a:t>1</a:t>
            </a:r>
            <a:endParaRPr lang="en-GB" altLang="en-US" sz="2400" b="1" dirty="0">
              <a:solidFill>
                <a:srgbClr val="FFFFFF"/>
              </a:solidFill>
            </a:endParaRPr>
          </a:p>
        </p:txBody>
      </p:sp>
      <p:sp>
        <p:nvSpPr>
          <p:cNvPr id="9" name="Rectangle 9">
            <a:extLst>
              <a:ext uri="{FF2B5EF4-FFF2-40B4-BE49-F238E27FC236}">
                <a16:creationId xmlns:a16="http://schemas.microsoft.com/office/drawing/2014/main" id="{6F2B1B09-0B86-EC16-BEDA-A2998A61DB63}"/>
              </a:ext>
            </a:extLst>
          </p:cNvPr>
          <p:cNvSpPr>
            <a:spLocks noChangeArrowheads="1"/>
          </p:cNvSpPr>
          <p:nvPr>
            <p:custDataLst>
              <p:tags r:id="rId2"/>
            </p:custDataLst>
          </p:nvPr>
        </p:nvSpPr>
        <p:spPr bwMode="auto">
          <a:xfrm>
            <a:off x="1551411" y="3194370"/>
            <a:ext cx="5613704" cy="351241"/>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GB" altLang="en-US" sz="1800" dirty="0"/>
              <a:t>Usage of DPM by </a:t>
            </a:r>
            <a:r>
              <a:rPr lang="en-GB" altLang="en-US" sz="1800" dirty="0" err="1"/>
              <a:t>IReF</a:t>
            </a:r>
            <a:endParaRPr lang="en-GB" altLang="en-US" sz="1800" dirty="0"/>
          </a:p>
        </p:txBody>
      </p:sp>
      <p:sp>
        <p:nvSpPr>
          <p:cNvPr id="10" name="Rectangle 9">
            <a:extLst>
              <a:ext uri="{FF2B5EF4-FFF2-40B4-BE49-F238E27FC236}">
                <a16:creationId xmlns:a16="http://schemas.microsoft.com/office/drawing/2014/main" id="{2A0994A9-D1B0-1EF5-ACBC-60181574B8B4}"/>
              </a:ext>
            </a:extLst>
          </p:cNvPr>
          <p:cNvSpPr>
            <a:spLocks noChangeArrowheads="1"/>
          </p:cNvSpPr>
          <p:nvPr>
            <p:custDataLst>
              <p:tags r:id="rId3"/>
            </p:custDataLst>
          </p:nvPr>
        </p:nvSpPr>
        <p:spPr bwMode="auto">
          <a:xfrm>
            <a:off x="1551411" y="2723423"/>
            <a:ext cx="5613704" cy="35124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GB" sz="1800" dirty="0"/>
              <a:t>Examples of usage of the DPM</a:t>
            </a:r>
            <a:endParaRPr lang="en-GB" sz="1200" dirty="0"/>
          </a:p>
        </p:txBody>
      </p:sp>
      <p:sp>
        <p:nvSpPr>
          <p:cNvPr id="11" name="Rectangle 10">
            <a:extLst>
              <a:ext uri="{FF2B5EF4-FFF2-40B4-BE49-F238E27FC236}">
                <a16:creationId xmlns:a16="http://schemas.microsoft.com/office/drawing/2014/main" id="{AA798510-5F54-4A5A-E328-71E0CC49C8EE}"/>
              </a:ext>
            </a:extLst>
          </p:cNvPr>
          <p:cNvSpPr>
            <a:spLocks noChangeArrowheads="1"/>
          </p:cNvSpPr>
          <p:nvPr>
            <p:custDataLst>
              <p:tags r:id="rId4"/>
            </p:custDataLst>
          </p:nvPr>
        </p:nvSpPr>
        <p:spPr bwMode="auto">
          <a:xfrm>
            <a:off x="1551411" y="2243792"/>
            <a:ext cx="5613704" cy="355732"/>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GB" sz="1800" dirty="0"/>
              <a:t>Overview of DPM 2.0 data model</a:t>
            </a:r>
          </a:p>
        </p:txBody>
      </p:sp>
      <p:sp>
        <p:nvSpPr>
          <p:cNvPr id="12" name="Rectangle 11">
            <a:extLst>
              <a:ext uri="{FF2B5EF4-FFF2-40B4-BE49-F238E27FC236}">
                <a16:creationId xmlns:a16="http://schemas.microsoft.com/office/drawing/2014/main" id="{1B440365-727A-A5D1-9650-2A9B65AE8964}"/>
              </a:ext>
            </a:extLst>
          </p:cNvPr>
          <p:cNvSpPr>
            <a:spLocks noChangeArrowheads="1"/>
          </p:cNvSpPr>
          <p:nvPr>
            <p:custDataLst>
              <p:tags r:id="rId5"/>
            </p:custDataLst>
          </p:nvPr>
        </p:nvSpPr>
        <p:spPr bwMode="auto">
          <a:xfrm>
            <a:off x="1551411" y="1769948"/>
            <a:ext cx="5613704" cy="355732"/>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defRPr/>
            </a:pPr>
            <a:r>
              <a:rPr lang="en-GB" altLang="en-US" sz="1800" dirty="0"/>
              <a:t>Introduction to the Data Point Model</a:t>
            </a:r>
          </a:p>
        </p:txBody>
      </p:sp>
      <p:sp>
        <p:nvSpPr>
          <p:cNvPr id="4" name="Rectangle 3">
            <a:extLst>
              <a:ext uri="{FF2B5EF4-FFF2-40B4-BE49-F238E27FC236}">
                <a16:creationId xmlns:a16="http://schemas.microsoft.com/office/drawing/2014/main" id="{CF57FC1C-0D7E-4FDA-051A-9BCCC22A1C13}"/>
              </a:ext>
            </a:extLst>
          </p:cNvPr>
          <p:cNvSpPr>
            <a:spLocks noChangeArrowheads="1"/>
          </p:cNvSpPr>
          <p:nvPr>
            <p:custDataLst>
              <p:tags r:id="rId6"/>
            </p:custDataLst>
          </p:nvPr>
        </p:nvSpPr>
        <p:spPr bwMode="auto">
          <a:xfrm>
            <a:off x="914400" y="2243792"/>
            <a:ext cx="383664" cy="355732"/>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US" altLang="en-US" sz="2400" b="1" dirty="0">
                <a:solidFill>
                  <a:srgbClr val="FFFFFF"/>
                </a:solidFill>
              </a:rPr>
              <a:t>2</a:t>
            </a:r>
            <a:endParaRPr lang="en-GB" altLang="en-US" sz="2400" b="1" dirty="0">
              <a:solidFill>
                <a:srgbClr val="FFFFFF"/>
              </a:solidFill>
            </a:endParaRPr>
          </a:p>
        </p:txBody>
      </p:sp>
      <p:sp>
        <p:nvSpPr>
          <p:cNvPr id="13" name="Rectangle 12">
            <a:extLst>
              <a:ext uri="{FF2B5EF4-FFF2-40B4-BE49-F238E27FC236}">
                <a16:creationId xmlns:a16="http://schemas.microsoft.com/office/drawing/2014/main" id="{75B81BFF-9231-AB55-D910-C33267909B6F}"/>
              </a:ext>
            </a:extLst>
          </p:cNvPr>
          <p:cNvSpPr>
            <a:spLocks noChangeArrowheads="1"/>
          </p:cNvSpPr>
          <p:nvPr>
            <p:custDataLst>
              <p:tags r:id="rId7"/>
            </p:custDataLst>
          </p:nvPr>
        </p:nvSpPr>
        <p:spPr bwMode="auto">
          <a:xfrm>
            <a:off x="914400" y="2718930"/>
            <a:ext cx="383664" cy="355732"/>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US" altLang="en-US" sz="2400" b="1" dirty="0">
                <a:solidFill>
                  <a:srgbClr val="FFFFFF"/>
                </a:solidFill>
              </a:rPr>
              <a:t>3</a:t>
            </a:r>
            <a:endParaRPr lang="en-GB" altLang="en-US" sz="2400" b="1" dirty="0">
              <a:solidFill>
                <a:srgbClr val="FFFFFF"/>
              </a:solidFill>
            </a:endParaRPr>
          </a:p>
        </p:txBody>
      </p:sp>
      <p:sp>
        <p:nvSpPr>
          <p:cNvPr id="14" name="Rectangle 13">
            <a:extLst>
              <a:ext uri="{FF2B5EF4-FFF2-40B4-BE49-F238E27FC236}">
                <a16:creationId xmlns:a16="http://schemas.microsoft.com/office/drawing/2014/main" id="{F7EF46DA-EB60-C9AF-E140-32D1EDAD1420}"/>
              </a:ext>
            </a:extLst>
          </p:cNvPr>
          <p:cNvSpPr>
            <a:spLocks noChangeArrowheads="1"/>
          </p:cNvSpPr>
          <p:nvPr>
            <p:custDataLst>
              <p:tags r:id="rId8"/>
            </p:custDataLst>
          </p:nvPr>
        </p:nvSpPr>
        <p:spPr bwMode="auto">
          <a:xfrm>
            <a:off x="914400" y="3194370"/>
            <a:ext cx="383664" cy="355732"/>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ctr" eaLnBrk="1" hangingPunct="1">
              <a:spcBef>
                <a:spcPct val="0"/>
              </a:spcBef>
              <a:buClrTx/>
            </a:pPr>
            <a:r>
              <a:rPr lang="en-US" altLang="en-US" sz="2400" b="1" dirty="0">
                <a:solidFill>
                  <a:srgbClr val="FFFFFF"/>
                </a:solidFill>
              </a:rPr>
              <a:t>4</a:t>
            </a:r>
            <a:endParaRPr lang="en-GB" altLang="en-US" sz="2400" b="1" dirty="0">
              <a:solidFill>
                <a:srgbClr val="FFFFFF"/>
              </a:solidFill>
            </a:endParaRPr>
          </a:p>
        </p:txBody>
      </p:sp>
    </p:spTree>
    <p:extLst>
      <p:ext uri="{BB962C8B-B14F-4D97-AF65-F5344CB8AC3E}">
        <p14:creationId xmlns:p14="http://schemas.microsoft.com/office/powerpoint/2010/main" val="11297472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US" sz="2000" dirty="0">
                <a:ea typeface="Times New Roman" panose="02020603050405020304" pitchFamily="18" charset="0"/>
              </a:rPr>
              <a:t>Usage of DPM by </a:t>
            </a:r>
            <a:r>
              <a:rPr lang="en-US" sz="2000" dirty="0" err="1">
                <a:ea typeface="Times New Roman" panose="02020603050405020304" pitchFamily="18" charset="0"/>
              </a:rPr>
              <a:t>IReF</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20</a:t>
            </a:fld>
            <a:endParaRPr lang="en-GB" altLang="en-US" sz="900">
              <a:solidFill>
                <a:srgbClr val="FFFFFF"/>
              </a:solidFill>
            </a:endParaRPr>
          </a:p>
        </p:txBody>
      </p:sp>
      <p:sp>
        <p:nvSpPr>
          <p:cNvPr id="7" name="TextBox 6">
            <a:extLst>
              <a:ext uri="{FF2B5EF4-FFF2-40B4-BE49-F238E27FC236}">
                <a16:creationId xmlns:a16="http://schemas.microsoft.com/office/drawing/2014/main" id="{4F35C9D8-32B3-3CE1-29A9-0EAC8366CD55}"/>
              </a:ext>
            </a:extLst>
          </p:cNvPr>
          <p:cNvSpPr txBox="1"/>
          <p:nvPr/>
        </p:nvSpPr>
        <p:spPr>
          <a:xfrm>
            <a:off x="295653" y="671990"/>
            <a:ext cx="7892695" cy="3862596"/>
          </a:xfrm>
          <a:prstGeom prst="rect">
            <a:avLst/>
          </a:prstGeom>
          <a:noFill/>
        </p:spPr>
        <p:txBody>
          <a:bodyPr wrap="square" rtlCol="0">
            <a:spAutoFit/>
          </a:bodyPr>
          <a:lstStyle/>
          <a:p>
            <a:pPr marL="285750" indent="-285750">
              <a:buFont typeface="Arial" panose="020B0604020202020204" pitchFamily="34" charset="0"/>
              <a:buChar char="•"/>
            </a:pPr>
            <a:r>
              <a:rPr lang="en-US" altLang="en-US" dirty="0"/>
              <a:t>Main conclusions of the EG on DPM Refit</a:t>
            </a:r>
            <a:endParaRPr lang="en-US" sz="1400" b="1" i="1" dirty="0"/>
          </a:p>
          <a:p>
            <a:pPr marL="800100" lvl="1" indent="-342900">
              <a:spcBef>
                <a:spcPts val="600"/>
              </a:spcBef>
              <a:spcAft>
                <a:spcPts val="600"/>
              </a:spcAft>
              <a:buFont typeface="Wingdings" panose="05000000000000000000" pitchFamily="2" charset="2"/>
              <a:buChar char="q"/>
            </a:pPr>
            <a:r>
              <a:rPr lang="en-GB" sz="1400" b="1" dirty="0">
                <a:solidFill>
                  <a:srgbClr val="002060"/>
                </a:solidFill>
                <a:latin typeface="+mj-lt"/>
                <a:ea typeface="+mj-ea"/>
                <a:cs typeface="+mj-cs"/>
              </a:rPr>
              <a:t>DPM </a:t>
            </a:r>
            <a:r>
              <a:rPr lang="en-GB" sz="1400" b="1" dirty="0" err="1">
                <a:solidFill>
                  <a:srgbClr val="002060"/>
                </a:solidFill>
                <a:latin typeface="+mj-lt"/>
                <a:ea typeface="+mj-ea"/>
                <a:cs typeface="+mj-cs"/>
              </a:rPr>
              <a:t>ReFit</a:t>
            </a:r>
            <a:r>
              <a:rPr lang="en-GB" sz="1400" b="1" dirty="0">
                <a:solidFill>
                  <a:srgbClr val="002060"/>
                </a:solidFill>
                <a:latin typeface="+mj-lt"/>
                <a:ea typeface="+mj-ea"/>
                <a:cs typeface="+mj-cs"/>
              </a:rPr>
              <a:t> is a valid metamodel for covering </a:t>
            </a:r>
            <a:r>
              <a:rPr lang="en-GB" sz="1400" b="1" dirty="0" err="1">
                <a:solidFill>
                  <a:srgbClr val="002060"/>
                </a:solidFill>
                <a:latin typeface="+mj-lt"/>
                <a:ea typeface="+mj-ea"/>
                <a:cs typeface="+mj-cs"/>
              </a:rPr>
              <a:t>IReF</a:t>
            </a:r>
            <a:r>
              <a:rPr lang="en-GB" sz="1400" b="1" dirty="0">
                <a:solidFill>
                  <a:srgbClr val="002060"/>
                </a:solidFill>
                <a:latin typeface="+mj-lt"/>
                <a:ea typeface="+mj-ea"/>
                <a:cs typeface="+mj-cs"/>
              </a:rPr>
              <a:t> requirements</a:t>
            </a:r>
          </a:p>
          <a:p>
            <a:pPr marL="800100" lvl="1" indent="-342900">
              <a:spcBef>
                <a:spcPts val="600"/>
              </a:spcBef>
              <a:spcAft>
                <a:spcPts val="600"/>
              </a:spcAft>
              <a:buFont typeface="Wingdings" panose="05000000000000000000" pitchFamily="2" charset="2"/>
              <a:buChar char="q"/>
            </a:pPr>
            <a:r>
              <a:rPr lang="en-GB" sz="1400" b="1" dirty="0">
                <a:solidFill>
                  <a:srgbClr val="002060"/>
                </a:solidFill>
                <a:latin typeface="+mj-lt"/>
                <a:ea typeface="+mj-ea"/>
                <a:cs typeface="+mj-cs"/>
              </a:rPr>
              <a:t>The PoC was performed using the approach of modelling the DPM as a ERM</a:t>
            </a:r>
          </a:p>
          <a:p>
            <a:pPr marL="800100" lvl="1" indent="-342900">
              <a:spcBef>
                <a:spcPts val="600"/>
              </a:spcBef>
              <a:spcAft>
                <a:spcPts val="600"/>
              </a:spcAft>
              <a:buFont typeface="Wingdings" panose="05000000000000000000" pitchFamily="2" charset="2"/>
              <a:buChar char="q"/>
            </a:pPr>
            <a:r>
              <a:rPr lang="en-US" sz="1400" b="1" dirty="0">
                <a:solidFill>
                  <a:srgbClr val="002060"/>
                </a:solidFill>
                <a:latin typeface="+mj-lt"/>
                <a:ea typeface="+mj-ea"/>
                <a:cs typeface="+mj-cs"/>
              </a:rPr>
              <a:t>The main condition is that a governance model needs to be put in place</a:t>
            </a:r>
          </a:p>
          <a:p>
            <a:pPr marL="285750" indent="-285750">
              <a:buFont typeface="Arial" panose="020B0604020202020204" pitchFamily="34" charset="0"/>
              <a:buChar char="•"/>
            </a:pPr>
            <a:r>
              <a:rPr lang="en-US" dirty="0"/>
              <a:t>Additional considerations:</a:t>
            </a:r>
          </a:p>
          <a:p>
            <a:pPr marL="342900" indent="-342900">
              <a:spcBef>
                <a:spcPts val="600"/>
              </a:spcBef>
              <a:spcAft>
                <a:spcPts val="600"/>
              </a:spcAft>
              <a:buFont typeface="Wingdings" panose="05000000000000000000" pitchFamily="2" charset="2"/>
              <a:buChar char="q"/>
            </a:pPr>
            <a:r>
              <a:rPr lang="en-US" sz="1400" dirty="0"/>
              <a:t>“the modelling approaches used at the EBA for defining the supervisory reports and by </a:t>
            </a:r>
            <a:r>
              <a:rPr lang="en-US" sz="1400" dirty="0" err="1"/>
              <a:t>IReF</a:t>
            </a:r>
            <a:r>
              <a:rPr lang="en-US" sz="1400" dirty="0"/>
              <a:t> are different resulting in practice in a different level of detail on the Metadata”</a:t>
            </a:r>
          </a:p>
          <a:p>
            <a:pPr marL="342900" indent="-342900">
              <a:spcBef>
                <a:spcPts val="600"/>
              </a:spcBef>
              <a:spcAft>
                <a:spcPts val="600"/>
              </a:spcAft>
              <a:buFont typeface="Wingdings" panose="05000000000000000000" pitchFamily="2" charset="2"/>
              <a:buChar char="q"/>
            </a:pPr>
            <a:r>
              <a:rPr lang="en-US" sz="1400" dirty="0"/>
              <a:t>IT solutions for maintaining the data models &amp; the dictionary using DPM Refit would need to be investigated separately</a:t>
            </a:r>
          </a:p>
          <a:p>
            <a:pPr marL="342900" indent="-342900">
              <a:spcBef>
                <a:spcPts val="600"/>
              </a:spcBef>
              <a:spcAft>
                <a:spcPts val="600"/>
              </a:spcAft>
              <a:buFont typeface="Wingdings" panose="05000000000000000000" pitchFamily="2" charset="2"/>
              <a:buChar char="q"/>
            </a:pPr>
            <a:r>
              <a:rPr lang="en-US" sz="1400" dirty="0"/>
              <a:t>Semantic considerations were not taken into account when </a:t>
            </a:r>
            <a:r>
              <a:rPr lang="en-US" sz="1400" dirty="0" err="1"/>
              <a:t>analysing</a:t>
            </a:r>
            <a:r>
              <a:rPr lang="en-US" sz="1400" dirty="0"/>
              <a:t> feasibility of DPM Refit metamodel</a:t>
            </a:r>
          </a:p>
        </p:txBody>
      </p:sp>
    </p:spTree>
    <p:extLst>
      <p:ext uri="{BB962C8B-B14F-4D97-AF65-F5344CB8AC3E}">
        <p14:creationId xmlns:p14="http://schemas.microsoft.com/office/powerpoint/2010/main" val="711450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D42FD0-C1EA-FD27-CD9B-55FDE2764BFA}"/>
              </a:ext>
            </a:extLst>
          </p:cNvPr>
          <p:cNvSpPr>
            <a:spLocks noGrp="1"/>
          </p:cNvSpPr>
          <p:nvPr>
            <p:ph type="body" sz="quarter" idx="15"/>
          </p:nvPr>
        </p:nvSpPr>
        <p:spPr/>
        <p:txBody>
          <a:bodyPr/>
          <a:lstStyle/>
          <a:p>
            <a:r>
              <a:rPr lang="en-US" dirty="0"/>
              <a:t>Annex</a:t>
            </a:r>
            <a:endParaRPr lang="en-GB" dirty="0"/>
          </a:p>
        </p:txBody>
      </p:sp>
      <p:sp>
        <p:nvSpPr>
          <p:cNvPr id="6" name="Slide Number Placeholder 5">
            <a:extLst>
              <a:ext uri="{FF2B5EF4-FFF2-40B4-BE49-F238E27FC236}">
                <a16:creationId xmlns:a16="http://schemas.microsoft.com/office/drawing/2014/main" id="{468A5D87-19A0-4607-6477-793DD80BE5D8}"/>
              </a:ext>
            </a:extLst>
          </p:cNvPr>
          <p:cNvSpPr>
            <a:spLocks noGrp="1"/>
          </p:cNvSpPr>
          <p:nvPr>
            <p:ph type="sldNum" sz="quarter" idx="18"/>
          </p:nvPr>
        </p:nvSpPr>
        <p:spPr/>
        <p:txBody>
          <a:bodyPr/>
          <a:lstStyle/>
          <a:p>
            <a:pPr>
              <a:defRPr/>
            </a:pPr>
            <a:fld id="{257DE999-06AE-4652-B9A2-D7452E8F4B82}" type="slidenum">
              <a:rPr lang="en-GB" smtClean="0"/>
              <a:pPr>
                <a:defRPr/>
              </a:pPr>
              <a:t>21</a:t>
            </a:fld>
            <a:endParaRPr lang="en-GB"/>
          </a:p>
        </p:txBody>
      </p:sp>
    </p:spTree>
    <p:extLst>
      <p:ext uri="{BB962C8B-B14F-4D97-AF65-F5344CB8AC3E}">
        <p14:creationId xmlns:p14="http://schemas.microsoft.com/office/powerpoint/2010/main" val="1362269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2087" b="1252"/>
          <a:stretch/>
        </p:blipFill>
        <p:spPr>
          <a:xfrm>
            <a:off x="1" y="-3175"/>
            <a:ext cx="4621213" cy="5146675"/>
          </a:xfrm>
        </p:spPr>
      </p:pic>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3</a:t>
            </a:fld>
            <a:endParaRPr altLang="en-US" sz="900">
              <a:solidFill>
                <a:schemeClr val="bg1"/>
              </a:solidFill>
              <a:ea typeface="ヒラギノ角ゴ Pro W3"/>
              <a:cs typeface="ヒラギノ角ゴ Pro W3"/>
            </a:endParaRPr>
          </a:p>
        </p:txBody>
      </p:sp>
      <p:sp>
        <p:nvSpPr>
          <p:cNvPr id="5" name="Text Placeholder 4"/>
          <p:cNvSpPr>
            <a:spLocks noGrp="1"/>
          </p:cNvSpPr>
          <p:nvPr>
            <p:ph type="body" sz="quarter" idx="15"/>
          </p:nvPr>
        </p:nvSpPr>
        <p:spPr>
          <a:xfrm>
            <a:off x="4816475" y="2241770"/>
            <a:ext cx="3968750" cy="1130301"/>
          </a:xfrm>
        </p:spPr>
        <p:txBody>
          <a:bodyPr/>
          <a:lstStyle/>
          <a:p>
            <a:pPr>
              <a:lnSpc>
                <a:spcPts val="3500"/>
              </a:lnSpc>
              <a:spcBef>
                <a:spcPct val="0"/>
              </a:spcBef>
              <a:defRPr/>
            </a:pPr>
            <a:r>
              <a:rPr lang="en-GB" sz="4000" dirty="0"/>
              <a:t>1. Introduction to the Data Point Model</a:t>
            </a:r>
          </a:p>
        </p:txBody>
      </p:sp>
    </p:spTree>
    <p:extLst>
      <p:ext uri="{BB962C8B-B14F-4D97-AF65-F5344CB8AC3E}">
        <p14:creationId xmlns:p14="http://schemas.microsoft.com/office/powerpoint/2010/main" val="32148040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339F4D-C7F2-4EC1-B9A0-B0277DB13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Object 6" hidden="1">
                        <a:extLst>
                          <a:ext uri="{FF2B5EF4-FFF2-40B4-BE49-F238E27FC236}">
                            <a16:creationId xmlns:a16="http://schemas.microsoft.com/office/drawing/2014/main" id="{66339F4D-C7F2-4EC1-B9A0-B0277DB13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Slide Number Placeholder 4"/>
          <p:cNvSpPr txBox="1">
            <a:spLocks/>
          </p:cNvSpPr>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defPPr>
              <a:defRPr lang="en-GB"/>
            </a:defPPr>
            <a:lvl1pPr algn="ctr" rtl="0" eaLnBrk="0" fontAlgn="base" hangingPunct="0">
              <a:lnSpc>
                <a:spcPts val="1200"/>
              </a:lnSpc>
              <a:spcBef>
                <a:spcPct val="0"/>
              </a:spcBef>
              <a:spcAft>
                <a:spcPct val="0"/>
              </a:spcAft>
              <a:defRPr lang="en-GB" sz="900" kern="1200">
                <a:solidFill>
                  <a:schemeClr val="bg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4</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cxnSp>
        <p:nvCxnSpPr>
          <p:cNvPr id="63" name="Straight Connector 62"/>
          <p:cNvCxnSpPr/>
          <p:nvPr/>
        </p:nvCxnSpPr>
        <p:spPr bwMode="auto">
          <a:xfrm>
            <a:off x="3976133" y="-1631401"/>
            <a:ext cx="0" cy="3365178"/>
          </a:xfrm>
          <a:prstGeom prst="lin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 name="Title 1">
            <a:extLst>
              <a:ext uri="{FF2B5EF4-FFF2-40B4-BE49-F238E27FC236}">
                <a16:creationId xmlns:a16="http://schemas.microsoft.com/office/drawing/2014/main" id="{220ACB32-8AB5-B15F-4952-D81958AFF544}"/>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Introduction to the Data Point Model</a:t>
            </a:r>
            <a:endParaRPr lang="en-US" sz="2000" dirty="0"/>
          </a:p>
        </p:txBody>
      </p:sp>
      <p:sp>
        <p:nvSpPr>
          <p:cNvPr id="8" name="TextBox 7">
            <a:extLst>
              <a:ext uri="{FF2B5EF4-FFF2-40B4-BE49-F238E27FC236}">
                <a16:creationId xmlns:a16="http://schemas.microsoft.com/office/drawing/2014/main" id="{467E6E99-9BD4-FAD4-7ED7-098930391BFE}"/>
              </a:ext>
            </a:extLst>
          </p:cNvPr>
          <p:cNvSpPr txBox="1"/>
          <p:nvPr/>
        </p:nvSpPr>
        <p:spPr>
          <a:xfrm>
            <a:off x="154825" y="1173633"/>
            <a:ext cx="7820393" cy="2862322"/>
          </a:xfrm>
          <a:prstGeom prst="rect">
            <a:avLst/>
          </a:prstGeom>
          <a:noFill/>
        </p:spPr>
        <p:txBody>
          <a:bodyPr wrap="square">
            <a:spAutoFit/>
          </a:bodyPr>
          <a:lstStyle/>
          <a:p>
            <a:pPr marL="171450" lvl="1" indent="-171450" algn="just" defTabSz="533387">
              <a:spcBef>
                <a:spcPts val="600"/>
              </a:spcBef>
              <a:spcAft>
                <a:spcPts val="600"/>
              </a:spcAft>
              <a:buClr>
                <a:srgbClr val="585858"/>
              </a:buClr>
              <a:buFont typeface="Arial" panose="020B0604020202020204" pitchFamily="34" charset="0"/>
              <a:buChar char="•"/>
              <a:defRPr/>
            </a:pPr>
            <a:r>
              <a:rPr lang="en-GB" sz="1400" dirty="0">
                <a:solidFill>
                  <a:schemeClr val="bg2">
                    <a:lumMod val="50000"/>
                  </a:schemeClr>
                </a:solidFill>
                <a:latin typeface="Arial"/>
                <a:ea typeface="ヒラギノ角ゴ Pro W3"/>
                <a:cs typeface="Arial"/>
              </a:rPr>
              <a:t>The</a:t>
            </a:r>
            <a:r>
              <a:rPr lang="en-GB" sz="1400" b="1" dirty="0">
                <a:solidFill>
                  <a:srgbClr val="003399"/>
                </a:solidFill>
                <a:latin typeface="Arial"/>
                <a:ea typeface="ヒラギノ角ゴ Pro W3"/>
                <a:cs typeface="Arial"/>
              </a:rPr>
              <a:t> Data Point Model (DPM) started in 2012, </a:t>
            </a:r>
            <a:r>
              <a:rPr lang="en-GB" sz="1400" dirty="0">
                <a:solidFill>
                  <a:schemeClr val="bg2">
                    <a:lumMod val="50000"/>
                  </a:schemeClr>
                </a:solidFill>
                <a:latin typeface="Arial"/>
                <a:cs typeface="Arial"/>
              </a:rPr>
              <a:t>to support the EBA and the Solvency 2 reporting frameworks</a:t>
            </a:r>
          </a:p>
          <a:p>
            <a:pPr marL="171450" lvl="1" indent="-171450" algn="just" defTabSz="533387">
              <a:spcBef>
                <a:spcPts val="600"/>
              </a:spcBef>
              <a:spcAft>
                <a:spcPts val="600"/>
              </a:spcAft>
              <a:buClr>
                <a:srgbClr val="585858"/>
              </a:buClr>
              <a:buFont typeface="Arial" panose="020B0604020202020204" pitchFamily="34" charset="0"/>
              <a:buChar char="•"/>
              <a:defRPr/>
            </a:pPr>
            <a:r>
              <a:rPr lang="en-GB" sz="1400" dirty="0">
                <a:solidFill>
                  <a:schemeClr val="bg2">
                    <a:lumMod val="50000"/>
                  </a:schemeClr>
                </a:solidFill>
                <a:latin typeface="Arial"/>
                <a:ea typeface="ヒラギノ角ゴ Pro W3"/>
                <a:cs typeface="Arial"/>
              </a:rPr>
              <a:t>The</a:t>
            </a:r>
            <a:r>
              <a:rPr lang="en-GB" sz="1400" b="1" dirty="0">
                <a:solidFill>
                  <a:srgbClr val="003399"/>
                </a:solidFill>
                <a:latin typeface="Arial"/>
                <a:ea typeface="ヒラギノ角ゴ Pro W3"/>
                <a:cs typeface="Arial"/>
              </a:rPr>
              <a:t> first DPM model </a:t>
            </a:r>
            <a:r>
              <a:rPr lang="en-GB" sz="1400" dirty="0">
                <a:solidFill>
                  <a:schemeClr val="bg2">
                    <a:lumMod val="50000"/>
                  </a:schemeClr>
                </a:solidFill>
                <a:latin typeface="Arial"/>
                <a:ea typeface="ヒラギノ角ゴ Pro W3"/>
                <a:cs typeface="Arial"/>
              </a:rPr>
              <a:t>was published in </a:t>
            </a:r>
            <a:r>
              <a:rPr lang="en-GB" sz="1400" b="1" dirty="0">
                <a:solidFill>
                  <a:srgbClr val="003399"/>
                </a:solidFill>
                <a:latin typeface="Arial"/>
                <a:ea typeface="ヒラギノ角ゴ Pro W3"/>
                <a:cs typeface="Arial"/>
              </a:rPr>
              <a:t>2013, </a:t>
            </a:r>
            <a:r>
              <a:rPr lang="en-GB" sz="1400" dirty="0">
                <a:solidFill>
                  <a:schemeClr val="bg2">
                    <a:lumMod val="50000"/>
                  </a:schemeClr>
                </a:solidFill>
                <a:latin typeface="Arial"/>
                <a:ea typeface="ヒラギノ角ゴ Pro W3"/>
                <a:cs typeface="Arial"/>
              </a:rPr>
              <a:t>as part of the </a:t>
            </a:r>
            <a:r>
              <a:rPr lang="en-GB" sz="1400" b="1" dirty="0">
                <a:solidFill>
                  <a:srgbClr val="003399"/>
                </a:solidFill>
                <a:latin typeface="Arial"/>
                <a:ea typeface="ヒラギノ角ゴ Pro W3"/>
                <a:cs typeface="Arial"/>
              </a:rPr>
              <a:t>ITS 2.0 technical package</a:t>
            </a:r>
          </a:p>
          <a:p>
            <a:pPr marL="171450" lvl="1" indent="-171450" algn="just" defTabSz="533387">
              <a:spcBef>
                <a:spcPts val="600"/>
              </a:spcBef>
              <a:spcAft>
                <a:spcPts val="600"/>
              </a:spcAft>
              <a:buClr>
                <a:srgbClr val="585858"/>
              </a:buClr>
              <a:buFont typeface="Arial" panose="020B0604020202020204" pitchFamily="34" charset="0"/>
              <a:buChar char="•"/>
              <a:defRPr/>
            </a:pPr>
            <a:r>
              <a:rPr lang="en-GB" sz="1400" dirty="0">
                <a:solidFill>
                  <a:schemeClr val="bg2">
                    <a:lumMod val="50000"/>
                  </a:schemeClr>
                </a:solidFill>
                <a:latin typeface="Arial"/>
                <a:ea typeface="ヒラギノ角ゴ Pro W3"/>
                <a:cs typeface="Arial"/>
              </a:rPr>
              <a:t>The</a:t>
            </a:r>
            <a:r>
              <a:rPr lang="en-GB" sz="1400" b="1" dirty="0">
                <a:solidFill>
                  <a:srgbClr val="003399"/>
                </a:solidFill>
                <a:latin typeface="Arial"/>
                <a:ea typeface="ヒラギノ角ゴ Pro W3"/>
                <a:cs typeface="Arial"/>
              </a:rPr>
              <a:t> data dictionary </a:t>
            </a:r>
            <a:r>
              <a:rPr lang="en-GB" sz="1400" dirty="0">
                <a:solidFill>
                  <a:schemeClr val="bg2">
                    <a:lumMod val="50000"/>
                  </a:schemeClr>
                </a:solidFill>
                <a:latin typeface="Arial"/>
                <a:ea typeface="ヒラギノ角ゴ Pro W3"/>
                <a:cs typeface="Arial"/>
              </a:rPr>
              <a:t>included in the DPM track changes and maintains the full historization of all </a:t>
            </a:r>
            <a:r>
              <a:rPr lang="en-GB" sz="1400" b="1" dirty="0">
                <a:solidFill>
                  <a:srgbClr val="003399"/>
                </a:solidFill>
                <a:latin typeface="Arial"/>
                <a:ea typeface="ヒラギノ角ゴ Pro W3"/>
                <a:cs typeface="Arial"/>
              </a:rPr>
              <a:t>templates structure, data points categorisation, validation rules, and taxonomies </a:t>
            </a:r>
            <a:r>
              <a:rPr lang="en-GB" sz="1400" dirty="0">
                <a:solidFill>
                  <a:schemeClr val="bg2">
                    <a:lumMod val="50000"/>
                  </a:schemeClr>
                </a:solidFill>
                <a:latin typeface="Arial"/>
                <a:ea typeface="ヒラギノ角ゴ Pro W3"/>
                <a:cs typeface="Arial"/>
              </a:rPr>
              <a:t>across all releases</a:t>
            </a:r>
          </a:p>
          <a:p>
            <a:pPr marL="171450" lvl="1" indent="-171450" algn="just" defTabSz="533387">
              <a:spcBef>
                <a:spcPts val="600"/>
              </a:spcBef>
              <a:spcAft>
                <a:spcPts val="600"/>
              </a:spcAft>
              <a:buClr>
                <a:srgbClr val="585858"/>
              </a:buClr>
              <a:buFont typeface="Arial" panose="020B0604020202020204" pitchFamily="34" charset="0"/>
              <a:buChar char="•"/>
              <a:defRPr/>
            </a:pPr>
            <a:r>
              <a:rPr lang="en-GB" sz="1400" dirty="0">
                <a:solidFill>
                  <a:schemeClr val="bg2">
                    <a:lumMod val="50000"/>
                  </a:schemeClr>
                </a:solidFill>
                <a:latin typeface="Arial"/>
                <a:ea typeface="ヒラギノ角ゴ Pro W3"/>
                <a:cs typeface="Arial"/>
              </a:rPr>
              <a:t>The core structure of the DPM model </a:t>
            </a:r>
            <a:r>
              <a:rPr lang="en-GB" sz="1400" b="1" dirty="0">
                <a:solidFill>
                  <a:srgbClr val="003399"/>
                </a:solidFill>
                <a:latin typeface="Arial"/>
                <a:ea typeface="ヒラギノ角ゴ Pro W3"/>
                <a:cs typeface="Arial"/>
              </a:rPr>
              <a:t>has not changed significantly since its first publication</a:t>
            </a:r>
          </a:p>
          <a:p>
            <a:pPr marL="171450" lvl="1" indent="-171450" algn="just" defTabSz="533387">
              <a:spcBef>
                <a:spcPts val="600"/>
              </a:spcBef>
              <a:spcAft>
                <a:spcPts val="600"/>
              </a:spcAft>
              <a:buClr>
                <a:srgbClr val="585858"/>
              </a:buClr>
              <a:buFont typeface="Arial" panose="020B0604020202020204" pitchFamily="34" charset="0"/>
              <a:buChar char="•"/>
              <a:defRPr/>
            </a:pPr>
            <a:r>
              <a:rPr lang="en-GB" sz="1400" dirty="0">
                <a:solidFill>
                  <a:schemeClr val="bg2">
                    <a:lumMod val="50000"/>
                  </a:schemeClr>
                </a:solidFill>
                <a:latin typeface="Arial"/>
                <a:ea typeface="ヒラギノ角ゴ Pro W3"/>
                <a:cs typeface="Arial"/>
              </a:rPr>
              <a:t>Since 2013, </a:t>
            </a:r>
            <a:r>
              <a:rPr lang="en-GB" sz="1400" b="1" dirty="0">
                <a:solidFill>
                  <a:srgbClr val="003399"/>
                </a:solidFill>
                <a:latin typeface="Arial"/>
                <a:ea typeface="ヒラギノ角ゴ Pro W3"/>
                <a:cs typeface="Arial"/>
              </a:rPr>
              <a:t>the DPM model has been used by the EBA and EIOPA </a:t>
            </a:r>
            <a:r>
              <a:rPr lang="en-GB" sz="1400" dirty="0">
                <a:solidFill>
                  <a:schemeClr val="bg2">
                    <a:lumMod val="50000"/>
                  </a:schemeClr>
                </a:solidFill>
                <a:latin typeface="Arial"/>
                <a:ea typeface="ヒラギノ角ゴ Pro W3"/>
                <a:cs typeface="Arial"/>
              </a:rPr>
              <a:t>as data dictionary repository, publicly available</a:t>
            </a:r>
          </a:p>
        </p:txBody>
      </p:sp>
      <p:sp>
        <p:nvSpPr>
          <p:cNvPr id="3" name="TextBox 2">
            <a:extLst>
              <a:ext uri="{FF2B5EF4-FFF2-40B4-BE49-F238E27FC236}">
                <a16:creationId xmlns:a16="http://schemas.microsoft.com/office/drawing/2014/main" id="{87DDF822-AAAB-3379-595E-1881CEFB89DF}"/>
              </a:ext>
            </a:extLst>
          </p:cNvPr>
          <p:cNvSpPr txBox="1"/>
          <p:nvPr/>
        </p:nvSpPr>
        <p:spPr>
          <a:xfrm>
            <a:off x="4590813" y="1131326"/>
            <a:ext cx="4449323" cy="246221"/>
          </a:xfrm>
          <a:prstGeom prst="rect">
            <a:avLst/>
          </a:prstGeom>
          <a:noFill/>
        </p:spPr>
        <p:txBody>
          <a:bodyPr wrap="square">
            <a:spAutoFit/>
          </a:bodyPr>
          <a:lstStyle/>
          <a:p>
            <a:pPr marL="171450" lvl="1" indent="-171450" algn="just" defTabSz="533387">
              <a:spcBef>
                <a:spcPts val="600"/>
              </a:spcBef>
              <a:spcAft>
                <a:spcPts val="600"/>
              </a:spcAft>
              <a:buClr>
                <a:srgbClr val="585858"/>
              </a:buClr>
              <a:buFont typeface="Arial" panose="020B0604020202020204" pitchFamily="34" charset="0"/>
              <a:buChar char="•"/>
              <a:defRPr/>
            </a:pPr>
            <a:endParaRPr lang="en-GB" sz="1000" dirty="0">
              <a:solidFill>
                <a:srgbClr val="585858"/>
              </a:solidFill>
              <a:latin typeface="Arial"/>
              <a:ea typeface="Calibri"/>
            </a:endParaRPr>
          </a:p>
        </p:txBody>
      </p:sp>
      <p:sp>
        <p:nvSpPr>
          <p:cNvPr id="26" name="Shape 587">
            <a:extLst>
              <a:ext uri="{FF2B5EF4-FFF2-40B4-BE49-F238E27FC236}">
                <a16:creationId xmlns:a16="http://schemas.microsoft.com/office/drawing/2014/main" id="{AAD9DDBA-CA7B-B4EB-69E0-4EDAEF814F9D}"/>
              </a:ext>
            </a:extLst>
          </p:cNvPr>
          <p:cNvSpPr/>
          <p:nvPr/>
        </p:nvSpPr>
        <p:spPr>
          <a:xfrm>
            <a:off x="154825" y="590277"/>
            <a:ext cx="8184778" cy="462077"/>
          </a:xfrm>
          <a:prstGeom prst="rect">
            <a:avLst/>
          </a:prstGeom>
          <a:solidFill>
            <a:schemeClr val="accent2"/>
          </a:solidFill>
          <a:ln w="12700" cap="flat">
            <a:noFill/>
            <a:miter lim="400000"/>
          </a:ln>
          <a:effectLst/>
        </p:spPr>
        <p:txBody>
          <a:bodyPr wrap="square" lIns="45719" tIns="45719" rIns="45719" bIns="45719" numCol="1"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solidFill>
                  <a:srgbClr val="FFFFFF"/>
                </a:solidFill>
              </a:defRPr>
            </a:pPr>
            <a:r>
              <a:rPr lang="en-GB" sz="1100" b="1" u="sng" dirty="0">
                <a:solidFill>
                  <a:srgbClr val="FFFFFF"/>
                </a:solidFill>
              </a:rPr>
              <a:t>History of DPM</a:t>
            </a:r>
            <a:endParaRPr lang="en-GB" sz="1100" b="1" dirty="0">
              <a:solidFill>
                <a:srgbClr val="FFFFFF"/>
              </a:solidFill>
            </a:endParaRPr>
          </a:p>
        </p:txBody>
      </p:sp>
    </p:spTree>
    <p:extLst>
      <p:ext uri="{BB962C8B-B14F-4D97-AF65-F5344CB8AC3E}">
        <p14:creationId xmlns:p14="http://schemas.microsoft.com/office/powerpoint/2010/main" val="3201313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 name="think-cell data - do not delete" hidden="1">
            <a:extLst>
              <a:ext uri="{FF2B5EF4-FFF2-40B4-BE49-F238E27FC236}">
                <a16:creationId xmlns:a16="http://schemas.microsoft.com/office/drawing/2014/main" id="{4443A681-41C3-8DE9-9B32-4B693B30BC35}"/>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1" name="think-cell data - do not delete" hidden="1">
                        <a:extLst>
                          <a:ext uri="{FF2B5EF4-FFF2-40B4-BE49-F238E27FC236}">
                            <a16:creationId xmlns:a16="http://schemas.microsoft.com/office/drawing/2014/main" id="{4443A681-41C3-8DE9-9B32-4B693B30BC35}"/>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0DFDEF-125E-F5EB-ECA0-82CF6EAFA64A}"/>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Introduction to the Data Point Model</a:t>
            </a:r>
            <a:endParaRPr lang="en-GB" altLang="en-US" sz="2000" dirty="0"/>
          </a:p>
        </p:txBody>
      </p:sp>
      <p:sp>
        <p:nvSpPr>
          <p:cNvPr id="6" name="Classification">
            <a:extLst>
              <a:ext uri="{FF2B5EF4-FFF2-40B4-BE49-F238E27FC236}">
                <a16:creationId xmlns:a16="http://schemas.microsoft.com/office/drawing/2014/main" id="{7BC0CE19-1AE6-0174-4FF8-DCAA159588D4}"/>
              </a:ext>
            </a:extLst>
          </p:cNvPr>
          <p:cNvSpPr txBox="1">
            <a:spLocks noChangeArrowheads="1"/>
          </p:cNvSpPr>
          <p:nvPr/>
        </p:nvSpPr>
        <p:spPr bwMode="auto">
          <a:xfrm>
            <a:off x="6948664" y="96451"/>
            <a:ext cx="19081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defTabSz="914378">
              <a:spcBef>
                <a:spcPct val="0"/>
              </a:spcBef>
              <a:buClrTx/>
              <a:defRPr/>
            </a:pPr>
            <a:r>
              <a:rPr lang="en-GB" altLang="en-US" sz="700" b="1">
                <a:solidFill>
                  <a:srgbClr val="585858"/>
                </a:solidFill>
              </a:rPr>
              <a:t>ECB-RESTRICTED</a:t>
            </a:r>
          </a:p>
        </p:txBody>
      </p:sp>
      <p:sp>
        <p:nvSpPr>
          <p:cNvPr id="4" name="Slide Number Placeholder 3">
            <a:extLst>
              <a:ext uri="{FF2B5EF4-FFF2-40B4-BE49-F238E27FC236}">
                <a16:creationId xmlns:a16="http://schemas.microsoft.com/office/drawing/2014/main" id="{FBB94DBD-1C80-CBE6-9EBE-28EB331E9E19}"/>
              </a:ext>
            </a:extLst>
          </p:cNvPr>
          <p:cNvSpPr txBox="1">
            <a:spLocks/>
          </p:cNvSpPr>
          <p:nvPr/>
        </p:nvSpPr>
        <p:spPr bwMode="auto">
          <a:xfrm>
            <a:off x="4357689" y="4857751"/>
            <a:ext cx="414337" cy="136525"/>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marL="0" algn="ctr" defTabSz="914400" rtl="0" eaLnBrk="0" latinLnBrk="0" hangingPunct="0">
              <a:lnSpc>
                <a:spcPts val="1600"/>
              </a:lnSpc>
              <a:spcBef>
                <a:spcPct val="30000"/>
              </a:spcBef>
              <a:buClr>
                <a:schemeClr val="tx2"/>
              </a:buClr>
              <a:defRPr lang="en-GB" sz="2933" kern="1200">
                <a:solidFill>
                  <a:schemeClr val="tx1"/>
                </a:solidFill>
                <a:latin typeface="Arial" pitchFamily="34" charset="0"/>
                <a:ea typeface="+mn-ea"/>
                <a:cs typeface="Arial" pitchFamily="34" charset="0"/>
              </a:defRPr>
            </a:lvl1pPr>
            <a:lvl2pPr marL="990575" indent="-380990" algn="l" defTabSz="914400" rtl="0" eaLnBrk="1" latinLnBrk="0" hangingPunct="1">
              <a:defRPr sz="1800" kern="1200">
                <a:solidFill>
                  <a:schemeClr val="tx1"/>
                </a:solidFill>
                <a:latin typeface="Arial" pitchFamily="34" charset="0"/>
                <a:ea typeface="+mn-ea"/>
                <a:cs typeface="Arial" pitchFamily="34" charset="0"/>
              </a:defRPr>
            </a:lvl2pPr>
            <a:lvl3pPr marL="1523962" indent="-304792" algn="l" defTabSz="914400" rtl="0" eaLnBrk="1" latinLnBrk="0" hangingPunct="1">
              <a:defRPr sz="2133" kern="1200">
                <a:solidFill>
                  <a:schemeClr val="tx1"/>
                </a:solidFill>
                <a:latin typeface="Arial" pitchFamily="34" charset="0"/>
                <a:ea typeface="+mn-ea"/>
                <a:cs typeface="Arial" pitchFamily="34" charset="0"/>
              </a:defRPr>
            </a:lvl3pPr>
            <a:lvl4pPr marL="2133547" indent="-304792" algn="l" defTabSz="914400" rtl="0" eaLnBrk="1" latinLnBrk="0" hangingPunct="1">
              <a:defRPr sz="2133" kern="1200">
                <a:solidFill>
                  <a:schemeClr val="tx1"/>
                </a:solidFill>
                <a:latin typeface="Arial" pitchFamily="34" charset="0"/>
                <a:ea typeface="+mn-ea"/>
                <a:cs typeface="Arial" pitchFamily="34" charset="0"/>
              </a:defRPr>
            </a:lvl4pPr>
            <a:lvl5pPr marL="2743131" indent="-304792" algn="l" defTabSz="914400" rtl="0" eaLnBrk="1" latinLnBrk="0" hangingPunct="1">
              <a:buFont typeface="Times" pitchFamily="18" charset="0"/>
              <a:defRPr sz="2133" i="1" kern="1200">
                <a:solidFill>
                  <a:schemeClr val="tx1"/>
                </a:solidFill>
                <a:latin typeface="Arial" pitchFamily="34" charset="0"/>
                <a:ea typeface="+mn-ea"/>
                <a:cs typeface="Arial" pitchFamily="34" charset="0"/>
              </a:defRPr>
            </a:lvl5pPr>
            <a:lvl6pPr marL="335271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6pPr>
            <a:lvl7pPr marL="3962301"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7pPr>
            <a:lvl8pPr marL="4571886"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8pPr>
            <a:lvl9pPr marL="5181470" indent="-304792" algn="l" defTabSz="914400" rtl="0" eaLnBrk="1" fontAlgn="base" latinLnBrk="0" hangingPunct="1">
              <a:spcBef>
                <a:spcPct val="0"/>
              </a:spcBef>
              <a:spcAft>
                <a:spcPct val="0"/>
              </a:spcAft>
              <a:buFont typeface="Times" pitchFamily="18" charset="0"/>
              <a:defRPr sz="2133" i="1" kern="1200">
                <a:solidFill>
                  <a:schemeClr val="tx1"/>
                </a:solidFill>
                <a:latin typeface="Arial" pitchFamily="34" charset="0"/>
                <a:ea typeface="+mn-ea"/>
                <a:cs typeface="Arial" pitchFamily="34" charset="0"/>
              </a:defRPr>
            </a:lvl9pPr>
          </a:lstStyle>
          <a:p>
            <a:pPr defTabSz="914378" eaLnBrk="1" hangingPunct="1">
              <a:lnSpc>
                <a:spcPct val="100000"/>
              </a:lnSpc>
              <a:spcBef>
                <a:spcPct val="0"/>
              </a:spcBef>
              <a:buClrTx/>
            </a:pPr>
            <a:fld id="{2332216F-59B6-4F0E-9D1D-1FF6B9CD8E26}" type="slidenum">
              <a:rPr lang="en-GB" altLang="en-US" sz="900">
                <a:solidFill>
                  <a:srgbClr val="FFFFFF"/>
                </a:solidFill>
              </a:rPr>
              <a:pPr defTabSz="914378" eaLnBrk="1" hangingPunct="1">
                <a:lnSpc>
                  <a:spcPct val="100000"/>
                </a:lnSpc>
                <a:spcBef>
                  <a:spcPct val="0"/>
                </a:spcBef>
                <a:buClrTx/>
              </a:pPr>
              <a:t>5</a:t>
            </a:fld>
            <a:endParaRPr lang="en-GB" altLang="en-US" sz="900">
              <a:solidFill>
                <a:srgbClr val="FFFFFF"/>
              </a:solidFill>
            </a:endParaRPr>
          </a:p>
        </p:txBody>
      </p:sp>
      <p:pic>
        <p:nvPicPr>
          <p:cNvPr id="5" name="Picture 4">
            <a:extLst>
              <a:ext uri="{FF2B5EF4-FFF2-40B4-BE49-F238E27FC236}">
                <a16:creationId xmlns:a16="http://schemas.microsoft.com/office/drawing/2014/main" id="{F2D0F8DD-2487-F018-CC52-25E94532AD92}"/>
              </a:ext>
            </a:extLst>
          </p:cNvPr>
          <p:cNvPicPr>
            <a:picLocks noChangeAspect="1"/>
          </p:cNvPicPr>
          <p:nvPr/>
        </p:nvPicPr>
        <p:blipFill>
          <a:blip r:embed="rId6"/>
          <a:stretch>
            <a:fillRect/>
          </a:stretch>
        </p:blipFill>
        <p:spPr>
          <a:xfrm>
            <a:off x="5160136" y="598141"/>
            <a:ext cx="3736774" cy="3264237"/>
          </a:xfrm>
          <a:prstGeom prst="rect">
            <a:avLst/>
          </a:prstGeom>
        </p:spPr>
      </p:pic>
      <p:sp>
        <p:nvSpPr>
          <p:cNvPr id="7" name="TextBox 6">
            <a:extLst>
              <a:ext uri="{FF2B5EF4-FFF2-40B4-BE49-F238E27FC236}">
                <a16:creationId xmlns:a16="http://schemas.microsoft.com/office/drawing/2014/main" id="{4F35C9D8-32B3-3CE1-29A9-0EAC8366CD55}"/>
              </a:ext>
            </a:extLst>
          </p:cNvPr>
          <p:cNvSpPr txBox="1"/>
          <p:nvPr/>
        </p:nvSpPr>
        <p:spPr>
          <a:xfrm>
            <a:off x="295654" y="671990"/>
            <a:ext cx="4706630" cy="4031873"/>
          </a:xfrm>
          <a:prstGeom prst="rect">
            <a:avLst/>
          </a:prstGeom>
          <a:noFill/>
        </p:spPr>
        <p:txBody>
          <a:bodyPr wrap="square" rtlCol="0">
            <a:spAutoFit/>
          </a:bodyPr>
          <a:lstStyle/>
          <a:p>
            <a:pPr marL="285750" indent="-285750">
              <a:buFont typeface="Arial" panose="020B0604020202020204" pitchFamily="34" charset="0"/>
              <a:buChar char="•"/>
            </a:pPr>
            <a:r>
              <a:rPr lang="en-GB" altLang="en-US" dirty="0"/>
              <a:t>The DPM is a data model that includes</a:t>
            </a:r>
          </a:p>
          <a:p>
            <a:pPr marL="742950" lvl="1" indent="-285750">
              <a:buFont typeface="Wingdings" panose="05000000000000000000" pitchFamily="2" charset="2"/>
              <a:buChar char="q"/>
            </a:pPr>
            <a:r>
              <a:rPr lang="en-GB" altLang="en-US" sz="1400" dirty="0"/>
              <a:t>Definition of Modules, Templates, and Data Points</a:t>
            </a:r>
          </a:p>
          <a:p>
            <a:pPr marL="742950" lvl="1" indent="-285750">
              <a:buFont typeface="Wingdings" panose="05000000000000000000" pitchFamily="2" charset="2"/>
              <a:buChar char="q"/>
            </a:pPr>
            <a:r>
              <a:rPr lang="en-GB" altLang="en-US" sz="1400" dirty="0"/>
              <a:t>Dimensional characteristics of each Data Point so that they can be described </a:t>
            </a:r>
            <a:r>
              <a:rPr lang="en-GB" altLang="en-US" sz="1400" dirty="0" err="1"/>
              <a:t>unambiguosly</a:t>
            </a:r>
            <a:endParaRPr lang="en-GB" altLang="en-US" sz="1400" dirty="0"/>
          </a:p>
          <a:p>
            <a:pPr marL="742950" lvl="1" indent="-285750">
              <a:buFont typeface="Wingdings" panose="05000000000000000000" pitchFamily="2" charset="2"/>
              <a:buChar char="q"/>
            </a:pPr>
            <a:r>
              <a:rPr lang="en-GB" altLang="en-US" sz="1400" dirty="0"/>
              <a:t>Data Point’s Coordinates (Template-Row-Column-Sheet)</a:t>
            </a:r>
          </a:p>
          <a:p>
            <a:pPr marL="742950" lvl="1" indent="-285750">
              <a:buFont typeface="Wingdings" panose="05000000000000000000" pitchFamily="2" charset="2"/>
              <a:buChar char="q"/>
            </a:pPr>
            <a:r>
              <a:rPr lang="en-GB" altLang="en-US" sz="1400" dirty="0"/>
              <a:t>Validation rules</a:t>
            </a:r>
          </a:p>
          <a:p>
            <a:pPr marL="742950" lvl="1" indent="-285750">
              <a:buFont typeface="Wingdings" panose="05000000000000000000" pitchFamily="2" charset="2"/>
              <a:buChar char="q"/>
            </a:pPr>
            <a:r>
              <a:rPr lang="en-GB" altLang="en-US" sz="1400" dirty="0"/>
              <a:t>Etc.</a:t>
            </a:r>
          </a:p>
          <a:p>
            <a:pPr lvl="1"/>
            <a:endParaRPr lang="en-GB" altLang="en-US" dirty="0"/>
          </a:p>
          <a:p>
            <a:pPr marL="285750" indent="-285750">
              <a:buFont typeface="Arial" panose="020B0604020202020204" pitchFamily="34" charset="0"/>
              <a:buChar char="•"/>
            </a:pPr>
            <a:r>
              <a:rPr lang="en-GB" altLang="en-US" dirty="0"/>
              <a:t>The EBA produces a database with the content of the DPM (dictionary)</a:t>
            </a:r>
          </a:p>
          <a:p>
            <a:pPr marL="285750" indent="-285750">
              <a:buFont typeface="Arial" panose="020B0604020202020204" pitchFamily="34" charset="0"/>
              <a:buChar char="•"/>
            </a:pPr>
            <a:endParaRPr lang="en-GB" altLang="en-US" dirty="0"/>
          </a:p>
          <a:p>
            <a:pPr marL="285750" indent="-285750">
              <a:buFont typeface="Arial" panose="020B0604020202020204" pitchFamily="34" charset="0"/>
              <a:buChar char="•"/>
            </a:pPr>
            <a:r>
              <a:rPr lang="en-GB" altLang="en-US" dirty="0"/>
              <a:t>The EBA XBRL taxonomy is the technical exchange format established for supervisory data </a:t>
            </a:r>
          </a:p>
        </p:txBody>
      </p:sp>
    </p:spTree>
    <p:extLst>
      <p:ext uri="{BB962C8B-B14F-4D97-AF65-F5344CB8AC3E}">
        <p14:creationId xmlns:p14="http://schemas.microsoft.com/office/powerpoint/2010/main" val="3596422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938"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2" name="Rectangle 2"/>
          <p:cNvSpPr>
            <a:spLocks noGrp="1" noChangeArrowheads="1"/>
          </p:cNvSpPr>
          <p:nvPr>
            <p:ph type="title"/>
          </p:nvPr>
        </p:nvSpPr>
        <p:spPr>
          <a:xfrm>
            <a:off x="468313" y="411163"/>
            <a:ext cx="8194675" cy="635000"/>
          </a:xfrm>
        </p:spPr>
        <p:txBody>
          <a:bodyPr/>
          <a:lstStyle/>
          <a:p>
            <a:pPr>
              <a:lnSpc>
                <a:spcPts val="2800"/>
              </a:lnSpc>
              <a:defRPr/>
            </a:pPr>
            <a:r>
              <a:rPr lang="en-GB" sz="2800" dirty="0">
                <a:ea typeface="Times New Roman" panose="02020603050405020304" pitchFamily="18" charset="0"/>
              </a:rPr>
              <a:t>Introduction to the Data Point Model</a:t>
            </a:r>
            <a:endParaRPr b="1" dirty="0"/>
          </a:p>
        </p:txBody>
      </p:sp>
      <p:sp>
        <p:nvSpPr>
          <p:cNvPr id="39941" name="Slide Number Placeholder 4"/>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BA2B5551-5054-45F9-AE36-59F11BB8562E}" type="slidenum">
              <a:rPr altLang="en-US" sz="900" smtClean="0">
                <a:solidFill>
                  <a:schemeClr val="bg1"/>
                </a:solidFill>
                <a:ea typeface="ヒラギノ角ゴ Pro W3"/>
                <a:cs typeface="ヒラギノ角ゴ Pro W3"/>
              </a:rPr>
              <a:pPr eaLnBrk="1" hangingPunct="1">
                <a:lnSpc>
                  <a:spcPct val="100000"/>
                </a:lnSpc>
                <a:spcBef>
                  <a:spcPct val="0"/>
                </a:spcBef>
                <a:buClrTx/>
              </a:pPr>
              <a:t>6</a:t>
            </a:fld>
            <a:endParaRPr altLang="en-US" sz="900">
              <a:solidFill>
                <a:schemeClr val="bg1"/>
              </a:solidFill>
              <a:ea typeface="ヒラギノ角ゴ Pro W3"/>
              <a:cs typeface="ヒラギノ角ゴ Pro W3"/>
            </a:endParaRPr>
          </a:p>
        </p:txBody>
      </p:sp>
      <p:sp>
        <p:nvSpPr>
          <p:cNvPr id="39943"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Please select]</a:t>
            </a:r>
          </a:p>
        </p:txBody>
      </p:sp>
      <p:sp>
        <p:nvSpPr>
          <p:cNvPr id="39944" name="DocumentStatus"/>
          <p:cNvSpPr txBox="1">
            <a:spLocks noChangeArrowheads="1"/>
          </p:cNvSpPr>
          <p:nvPr/>
        </p:nvSpPr>
        <p:spPr bwMode="auto">
          <a:xfrm>
            <a:off x="6875463" y="2349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Please select]</a:t>
            </a:r>
          </a:p>
        </p:txBody>
      </p:sp>
      <p:pic>
        <p:nvPicPr>
          <p:cNvPr id="6" name="Picture 5">
            <a:extLst>
              <a:ext uri="{FF2B5EF4-FFF2-40B4-BE49-F238E27FC236}">
                <a16:creationId xmlns:a16="http://schemas.microsoft.com/office/drawing/2014/main" id="{AF7DA6C2-A914-4DB2-B4E4-D99E14E6E9F0}"/>
              </a:ext>
            </a:extLst>
          </p:cNvPr>
          <p:cNvPicPr>
            <a:picLocks noChangeAspect="1"/>
          </p:cNvPicPr>
          <p:nvPr/>
        </p:nvPicPr>
        <p:blipFill>
          <a:blip r:embed="rId3"/>
          <a:stretch>
            <a:fillRect/>
          </a:stretch>
        </p:blipFill>
        <p:spPr>
          <a:xfrm>
            <a:off x="577980" y="2181676"/>
            <a:ext cx="700187" cy="654189"/>
          </a:xfrm>
          <a:prstGeom prst="rect">
            <a:avLst/>
          </a:prstGeom>
        </p:spPr>
      </p:pic>
      <p:pic>
        <p:nvPicPr>
          <p:cNvPr id="7" name="Picture 6">
            <a:extLst>
              <a:ext uri="{FF2B5EF4-FFF2-40B4-BE49-F238E27FC236}">
                <a16:creationId xmlns:a16="http://schemas.microsoft.com/office/drawing/2014/main" id="{E58A341E-6D41-47F7-82C9-4B2A26E72DD0}"/>
              </a:ext>
            </a:extLst>
          </p:cNvPr>
          <p:cNvPicPr>
            <a:picLocks noChangeAspect="1"/>
          </p:cNvPicPr>
          <p:nvPr/>
        </p:nvPicPr>
        <p:blipFill>
          <a:blip r:embed="rId4"/>
          <a:stretch>
            <a:fillRect/>
          </a:stretch>
        </p:blipFill>
        <p:spPr>
          <a:xfrm>
            <a:off x="579875" y="1329434"/>
            <a:ext cx="696395" cy="654189"/>
          </a:xfrm>
          <a:prstGeom prst="rect">
            <a:avLst/>
          </a:prstGeom>
        </p:spPr>
      </p:pic>
      <p:pic>
        <p:nvPicPr>
          <p:cNvPr id="8" name="Picture 7">
            <a:extLst>
              <a:ext uri="{FF2B5EF4-FFF2-40B4-BE49-F238E27FC236}">
                <a16:creationId xmlns:a16="http://schemas.microsoft.com/office/drawing/2014/main" id="{A209E7FE-5974-4269-9B39-EB4791C38DB6}"/>
              </a:ext>
            </a:extLst>
          </p:cNvPr>
          <p:cNvPicPr>
            <a:picLocks noChangeAspect="1"/>
          </p:cNvPicPr>
          <p:nvPr/>
        </p:nvPicPr>
        <p:blipFill>
          <a:blip r:embed="rId5"/>
          <a:stretch>
            <a:fillRect/>
          </a:stretch>
        </p:blipFill>
        <p:spPr>
          <a:xfrm>
            <a:off x="468313" y="3147858"/>
            <a:ext cx="805237" cy="749490"/>
          </a:xfrm>
          <a:prstGeom prst="rect">
            <a:avLst/>
          </a:prstGeom>
        </p:spPr>
      </p:pic>
      <p:pic>
        <p:nvPicPr>
          <p:cNvPr id="9" name="Picture 8">
            <a:extLst>
              <a:ext uri="{FF2B5EF4-FFF2-40B4-BE49-F238E27FC236}">
                <a16:creationId xmlns:a16="http://schemas.microsoft.com/office/drawing/2014/main" id="{783844E4-8B13-4061-8DF9-5A819FD7046D}"/>
              </a:ext>
            </a:extLst>
          </p:cNvPr>
          <p:cNvPicPr>
            <a:picLocks noChangeAspect="1"/>
          </p:cNvPicPr>
          <p:nvPr/>
        </p:nvPicPr>
        <p:blipFill>
          <a:blip r:embed="rId6"/>
          <a:stretch>
            <a:fillRect/>
          </a:stretch>
        </p:blipFill>
        <p:spPr>
          <a:xfrm>
            <a:off x="468314" y="4006854"/>
            <a:ext cx="789846" cy="749489"/>
          </a:xfrm>
          <a:prstGeom prst="rect">
            <a:avLst/>
          </a:prstGeom>
        </p:spPr>
      </p:pic>
      <p:sp>
        <p:nvSpPr>
          <p:cNvPr id="10" name="TextBox 9">
            <a:extLst>
              <a:ext uri="{FF2B5EF4-FFF2-40B4-BE49-F238E27FC236}">
                <a16:creationId xmlns:a16="http://schemas.microsoft.com/office/drawing/2014/main" id="{C1E0D5F0-FFD3-43C6-86F4-4C8E287127F0}"/>
              </a:ext>
            </a:extLst>
          </p:cNvPr>
          <p:cNvSpPr txBox="1"/>
          <p:nvPr/>
        </p:nvSpPr>
        <p:spPr>
          <a:xfrm>
            <a:off x="1918037" y="1329434"/>
            <a:ext cx="5134832" cy="584775"/>
          </a:xfrm>
          <a:prstGeom prst="rect">
            <a:avLst/>
          </a:prstGeom>
          <a:noFill/>
        </p:spPr>
        <p:txBody>
          <a:bodyPr wrap="square" rtlCol="0">
            <a:spAutoFit/>
          </a:bodyPr>
          <a:lstStyle/>
          <a:p>
            <a:r>
              <a:rPr lang="en-GB" sz="1600" b="1" dirty="0"/>
              <a:t>Methodology</a:t>
            </a:r>
            <a:r>
              <a:rPr lang="en-GB" sz="1600" dirty="0"/>
              <a:t> for defining regulatory data requirements, using specific data modelling techniques </a:t>
            </a:r>
          </a:p>
        </p:txBody>
      </p:sp>
      <p:sp>
        <p:nvSpPr>
          <p:cNvPr id="15" name="TextBox 14">
            <a:extLst>
              <a:ext uri="{FF2B5EF4-FFF2-40B4-BE49-F238E27FC236}">
                <a16:creationId xmlns:a16="http://schemas.microsoft.com/office/drawing/2014/main" id="{F266A077-0FCC-4610-B5EF-2BF392108C4E}"/>
              </a:ext>
            </a:extLst>
          </p:cNvPr>
          <p:cNvSpPr txBox="1"/>
          <p:nvPr/>
        </p:nvSpPr>
        <p:spPr>
          <a:xfrm>
            <a:off x="1918037" y="2232035"/>
            <a:ext cx="5044892" cy="584775"/>
          </a:xfrm>
          <a:prstGeom prst="rect">
            <a:avLst/>
          </a:prstGeom>
          <a:noFill/>
        </p:spPr>
        <p:txBody>
          <a:bodyPr wrap="square" rtlCol="0">
            <a:spAutoFit/>
          </a:bodyPr>
          <a:lstStyle/>
          <a:p>
            <a:r>
              <a:rPr lang="en-GB" sz="1600" b="1" dirty="0"/>
              <a:t>Metamodel</a:t>
            </a:r>
            <a:r>
              <a:rPr lang="en-GB" sz="1600" dirty="0"/>
              <a:t> defining the data modelling language, and the metadata storage model</a:t>
            </a:r>
          </a:p>
        </p:txBody>
      </p:sp>
      <p:sp>
        <p:nvSpPr>
          <p:cNvPr id="16" name="TextBox 15">
            <a:extLst>
              <a:ext uri="{FF2B5EF4-FFF2-40B4-BE49-F238E27FC236}">
                <a16:creationId xmlns:a16="http://schemas.microsoft.com/office/drawing/2014/main" id="{BDF7BF94-147C-45C2-A886-3319073E6BAD}"/>
              </a:ext>
            </a:extLst>
          </p:cNvPr>
          <p:cNvSpPr txBox="1"/>
          <p:nvPr/>
        </p:nvSpPr>
        <p:spPr>
          <a:xfrm>
            <a:off x="1918037" y="3154319"/>
            <a:ext cx="5134833" cy="584775"/>
          </a:xfrm>
          <a:prstGeom prst="rect">
            <a:avLst/>
          </a:prstGeom>
          <a:noFill/>
        </p:spPr>
        <p:txBody>
          <a:bodyPr wrap="square" rtlCol="0">
            <a:spAutoFit/>
          </a:bodyPr>
          <a:lstStyle/>
          <a:p>
            <a:r>
              <a:rPr lang="en-GB" sz="1600" b="1" dirty="0"/>
              <a:t>Metadata</a:t>
            </a:r>
            <a:r>
              <a:rPr lang="en-GB" sz="1600" dirty="0"/>
              <a:t> describing concepts and regulatory requirements of all reporting framework releases</a:t>
            </a:r>
          </a:p>
        </p:txBody>
      </p:sp>
      <p:sp>
        <p:nvSpPr>
          <p:cNvPr id="17" name="TextBox 16">
            <a:extLst>
              <a:ext uri="{FF2B5EF4-FFF2-40B4-BE49-F238E27FC236}">
                <a16:creationId xmlns:a16="http://schemas.microsoft.com/office/drawing/2014/main" id="{F607E65B-1A51-4501-964E-D1C75F44D6E2}"/>
              </a:ext>
            </a:extLst>
          </p:cNvPr>
          <p:cNvSpPr txBox="1"/>
          <p:nvPr/>
        </p:nvSpPr>
        <p:spPr>
          <a:xfrm>
            <a:off x="1918038" y="4002682"/>
            <a:ext cx="5134833" cy="584775"/>
          </a:xfrm>
          <a:prstGeom prst="rect">
            <a:avLst/>
          </a:prstGeom>
          <a:noFill/>
        </p:spPr>
        <p:txBody>
          <a:bodyPr wrap="square" rtlCol="0">
            <a:spAutoFit/>
          </a:bodyPr>
          <a:lstStyle/>
          <a:p>
            <a:r>
              <a:rPr lang="en-GB" sz="1600" b="1" dirty="0"/>
              <a:t>Tool set</a:t>
            </a:r>
            <a:r>
              <a:rPr lang="en-GB" sz="1600" dirty="0"/>
              <a:t> that supports the work of reporting experts for the continuous development of the DPM releases</a:t>
            </a:r>
          </a:p>
        </p:txBody>
      </p:sp>
      <p:sp>
        <p:nvSpPr>
          <p:cNvPr id="11" name="TextBox 10">
            <a:extLst>
              <a:ext uri="{FF2B5EF4-FFF2-40B4-BE49-F238E27FC236}">
                <a16:creationId xmlns:a16="http://schemas.microsoft.com/office/drawing/2014/main" id="{40E6852E-0EEA-4656-9287-31AFBA42D01F}"/>
              </a:ext>
            </a:extLst>
          </p:cNvPr>
          <p:cNvSpPr txBox="1"/>
          <p:nvPr/>
        </p:nvSpPr>
        <p:spPr>
          <a:xfrm>
            <a:off x="7307701" y="3147858"/>
            <a:ext cx="1475931" cy="584775"/>
          </a:xfrm>
          <a:prstGeom prst="rect">
            <a:avLst/>
          </a:prstGeom>
          <a:noFill/>
          <a:ln>
            <a:solidFill>
              <a:schemeClr val="tx1"/>
            </a:solidFill>
          </a:ln>
          <a:effectLst>
            <a:outerShdw blurRad="50800" dist="38100" dir="2700000" algn="tl" rotWithShape="0">
              <a:prstClr val="black">
                <a:alpha val="40000"/>
              </a:prstClr>
            </a:outerShdw>
          </a:effectLst>
        </p:spPr>
        <p:txBody>
          <a:bodyPr wrap="square" rtlCol="0">
            <a:spAutoFit/>
          </a:bodyPr>
          <a:lstStyle/>
          <a:p>
            <a:pPr algn="ctr"/>
            <a:r>
              <a:rPr lang="es-ES" sz="1600" dirty="0" err="1"/>
              <a:t>Semantic</a:t>
            </a:r>
            <a:endParaRPr lang="es-ES" sz="1600" dirty="0"/>
          </a:p>
          <a:p>
            <a:pPr algn="ctr"/>
            <a:r>
              <a:rPr lang="es-ES" sz="1600" dirty="0"/>
              <a:t>Content</a:t>
            </a:r>
            <a:endParaRPr lang="en-GB" sz="1600" dirty="0"/>
          </a:p>
        </p:txBody>
      </p:sp>
      <p:sp>
        <p:nvSpPr>
          <p:cNvPr id="19" name="TextBox 18">
            <a:extLst>
              <a:ext uri="{FF2B5EF4-FFF2-40B4-BE49-F238E27FC236}">
                <a16:creationId xmlns:a16="http://schemas.microsoft.com/office/drawing/2014/main" id="{C6E33152-DD5A-41E6-824D-8FBA8CAC8754}"/>
              </a:ext>
            </a:extLst>
          </p:cNvPr>
          <p:cNvSpPr txBox="1"/>
          <p:nvPr/>
        </p:nvSpPr>
        <p:spPr>
          <a:xfrm>
            <a:off x="7307703" y="1333038"/>
            <a:ext cx="1475929" cy="584775"/>
          </a:xfrm>
          <a:prstGeom prst="rect">
            <a:avLst/>
          </a:prstGeom>
          <a:noFill/>
          <a:ln>
            <a:solidFill>
              <a:schemeClr val="tx1"/>
            </a:solidFill>
          </a:ln>
          <a:effectLst>
            <a:outerShdw blurRad="50800" dist="38100" dir="2700000" algn="tl" rotWithShape="0">
              <a:prstClr val="black">
                <a:alpha val="40000"/>
              </a:prstClr>
            </a:outerShdw>
          </a:effectLst>
        </p:spPr>
        <p:txBody>
          <a:bodyPr wrap="square" rtlCol="0">
            <a:spAutoFit/>
          </a:bodyPr>
          <a:lstStyle/>
          <a:p>
            <a:pPr algn="ctr"/>
            <a:r>
              <a:rPr lang="es-ES" sz="1600" dirty="0" err="1"/>
              <a:t>Methods</a:t>
            </a:r>
            <a:endParaRPr lang="es-ES" sz="1600" dirty="0"/>
          </a:p>
          <a:p>
            <a:pPr algn="ctr"/>
            <a:r>
              <a:rPr lang="es-ES" sz="1600" dirty="0"/>
              <a:t>Rules</a:t>
            </a:r>
            <a:endParaRPr lang="en-GB" sz="1600" dirty="0"/>
          </a:p>
        </p:txBody>
      </p:sp>
      <p:sp>
        <p:nvSpPr>
          <p:cNvPr id="20" name="TextBox 19">
            <a:extLst>
              <a:ext uri="{FF2B5EF4-FFF2-40B4-BE49-F238E27FC236}">
                <a16:creationId xmlns:a16="http://schemas.microsoft.com/office/drawing/2014/main" id="{7DB40D1C-F148-426E-AECF-38235CB71B39}"/>
              </a:ext>
            </a:extLst>
          </p:cNvPr>
          <p:cNvSpPr txBox="1"/>
          <p:nvPr/>
        </p:nvSpPr>
        <p:spPr>
          <a:xfrm>
            <a:off x="7307703" y="2181676"/>
            <a:ext cx="1475932" cy="584775"/>
          </a:xfrm>
          <a:prstGeom prst="rect">
            <a:avLst/>
          </a:prstGeom>
          <a:noFill/>
          <a:ln>
            <a:solidFill>
              <a:schemeClr val="tx1"/>
            </a:solidFill>
          </a:ln>
          <a:effectLst>
            <a:outerShdw blurRad="50800" dist="38100" dir="2700000" algn="tl" rotWithShape="0">
              <a:prstClr val="black">
                <a:alpha val="40000"/>
              </a:prstClr>
            </a:outerShdw>
          </a:effectLst>
        </p:spPr>
        <p:txBody>
          <a:bodyPr wrap="square" rtlCol="0">
            <a:spAutoFit/>
          </a:bodyPr>
          <a:lstStyle/>
          <a:p>
            <a:pPr algn="ctr"/>
            <a:r>
              <a:rPr lang="es-ES" sz="1600" dirty="0" err="1"/>
              <a:t>Syntactic</a:t>
            </a:r>
            <a:r>
              <a:rPr lang="es-ES" sz="1600" dirty="0"/>
              <a:t> </a:t>
            </a:r>
            <a:r>
              <a:rPr lang="es-ES" sz="1600" dirty="0" err="1"/>
              <a:t>structure</a:t>
            </a:r>
            <a:endParaRPr lang="en-GB" sz="1600" dirty="0"/>
          </a:p>
        </p:txBody>
      </p:sp>
      <p:sp>
        <p:nvSpPr>
          <p:cNvPr id="21" name="TextBox 20">
            <a:extLst>
              <a:ext uri="{FF2B5EF4-FFF2-40B4-BE49-F238E27FC236}">
                <a16:creationId xmlns:a16="http://schemas.microsoft.com/office/drawing/2014/main" id="{17FCC122-BB2C-42B4-8124-79379EE15C85}"/>
              </a:ext>
            </a:extLst>
          </p:cNvPr>
          <p:cNvSpPr txBox="1"/>
          <p:nvPr/>
        </p:nvSpPr>
        <p:spPr>
          <a:xfrm>
            <a:off x="7307705" y="4040782"/>
            <a:ext cx="1475933" cy="584775"/>
          </a:xfrm>
          <a:prstGeom prst="rect">
            <a:avLst/>
          </a:prstGeom>
          <a:noFill/>
          <a:ln>
            <a:solidFill>
              <a:schemeClr val="tx1"/>
            </a:solidFill>
          </a:ln>
          <a:effectLst>
            <a:outerShdw blurRad="50800" dist="38100" dir="2700000" algn="tl" rotWithShape="0">
              <a:prstClr val="black">
                <a:alpha val="40000"/>
              </a:prstClr>
            </a:outerShdw>
          </a:effectLst>
        </p:spPr>
        <p:txBody>
          <a:bodyPr wrap="square" rtlCol="0" anchor="ctr">
            <a:spAutoFit/>
          </a:bodyPr>
          <a:lstStyle/>
          <a:p>
            <a:pPr algn="ctr"/>
            <a:r>
              <a:rPr lang="es-ES" sz="1600" dirty="0" err="1"/>
              <a:t>Infrastructure</a:t>
            </a:r>
            <a:endParaRPr lang="es-ES" sz="1600" dirty="0"/>
          </a:p>
          <a:p>
            <a:pPr algn="ctr"/>
            <a:endParaRPr lang="en-GB" sz="1600" dirty="0"/>
          </a:p>
        </p:txBody>
      </p:sp>
      <p:sp>
        <p:nvSpPr>
          <p:cNvPr id="3" name="TextBox 2">
            <a:extLst>
              <a:ext uri="{FF2B5EF4-FFF2-40B4-BE49-F238E27FC236}">
                <a16:creationId xmlns:a16="http://schemas.microsoft.com/office/drawing/2014/main" id="{BE5147B2-0055-1035-50D9-190B24C00869}"/>
              </a:ext>
            </a:extLst>
          </p:cNvPr>
          <p:cNvSpPr txBox="1"/>
          <p:nvPr/>
        </p:nvSpPr>
        <p:spPr>
          <a:xfrm>
            <a:off x="468313" y="866786"/>
            <a:ext cx="3865161" cy="369332"/>
          </a:xfrm>
          <a:prstGeom prst="rect">
            <a:avLst/>
          </a:prstGeom>
          <a:noFill/>
        </p:spPr>
        <p:txBody>
          <a:bodyPr wrap="none" rtlCol="0">
            <a:spAutoFit/>
          </a:bodyPr>
          <a:lstStyle/>
          <a:p>
            <a:r>
              <a:rPr lang="en-GB" b="1" dirty="0">
                <a:solidFill>
                  <a:schemeClr val="accent1"/>
                </a:solidFill>
              </a:rPr>
              <a:t>What is the DPM Data dictionary?</a:t>
            </a:r>
          </a:p>
        </p:txBody>
      </p:sp>
      <p:sp>
        <p:nvSpPr>
          <p:cNvPr id="4" name="Rectangle: Rounded Corners 3">
            <a:extLst>
              <a:ext uri="{FF2B5EF4-FFF2-40B4-BE49-F238E27FC236}">
                <a16:creationId xmlns:a16="http://schemas.microsoft.com/office/drawing/2014/main" id="{385C4AB5-C5F5-5E10-AB11-7316A7B6992C}"/>
              </a:ext>
            </a:extLst>
          </p:cNvPr>
          <p:cNvSpPr/>
          <p:nvPr/>
        </p:nvSpPr>
        <p:spPr bwMode="auto">
          <a:xfrm>
            <a:off x="371260" y="2103808"/>
            <a:ext cx="8621486" cy="786923"/>
          </a:xfrm>
          <a:prstGeom prst="roundRect">
            <a:avLst/>
          </a:prstGeom>
          <a:noFill/>
          <a:ln w="28575" cap="flat"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Tree>
    <p:extLst>
      <p:ext uri="{BB962C8B-B14F-4D97-AF65-F5344CB8AC3E}">
        <p14:creationId xmlns:p14="http://schemas.microsoft.com/office/powerpoint/2010/main" val="2932439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6339F4D-C7F2-4EC1-B9A0-B0277DB135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04" imgH="204" progId="TCLayout.ActiveDocument.1">
                  <p:embed/>
                </p:oleObj>
              </mc:Choice>
              <mc:Fallback>
                <p:oleObj name="think-cell Slide" r:id="rId4" imgW="204" imgH="204" progId="TCLayout.ActiveDocument.1">
                  <p:embed/>
                  <p:pic>
                    <p:nvPicPr>
                      <p:cNvPr id="7" name="Object 6" hidden="1">
                        <a:extLst>
                          <a:ext uri="{FF2B5EF4-FFF2-40B4-BE49-F238E27FC236}">
                            <a16:creationId xmlns:a16="http://schemas.microsoft.com/office/drawing/2014/main" id="{66339F4D-C7F2-4EC1-B9A0-B0277DB135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Slide Number Placeholder 4"/>
          <p:cNvSpPr txBox="1">
            <a:spLocks/>
          </p:cNvSpPr>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defPPr>
              <a:defRPr lang="en-GB"/>
            </a:defPPr>
            <a:lvl1pPr algn="ctr" rtl="0" eaLnBrk="0" fontAlgn="base" hangingPunct="0">
              <a:lnSpc>
                <a:spcPts val="1200"/>
              </a:lnSpc>
              <a:spcBef>
                <a:spcPct val="0"/>
              </a:spcBef>
              <a:spcAft>
                <a:spcPct val="0"/>
              </a:spcAft>
              <a:defRPr lang="en-GB" sz="900" kern="1200">
                <a:solidFill>
                  <a:schemeClr val="bg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914400" rtl="0" eaLnBrk="0" fontAlgn="base" latinLnBrk="0" hangingPunct="0">
              <a:lnSpc>
                <a:spcPts val="1200"/>
              </a:lnSpc>
              <a:spcBef>
                <a:spcPct val="0"/>
              </a:spcBef>
              <a:spcAft>
                <a:spcPct val="0"/>
              </a:spcAft>
              <a:buClrTx/>
              <a:buSzTx/>
              <a:buFontTx/>
              <a:buNone/>
              <a:tabLst/>
              <a:defRPr/>
            </a:pPr>
            <a:fld id="{ED1FD865-804E-48C1-A695-A06457E96645}" type="slidenum">
              <a:rPr kumimoji="0" lang="en-GB"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ctr" defTabSz="914400" rtl="0" eaLnBrk="0" fontAlgn="base" latinLnBrk="0" hangingPunct="0">
                <a:lnSpc>
                  <a:spcPts val="1200"/>
                </a:lnSpc>
                <a:spcBef>
                  <a:spcPct val="0"/>
                </a:spcBef>
                <a:spcAft>
                  <a:spcPct val="0"/>
                </a:spcAft>
                <a:buClrTx/>
                <a:buSzTx/>
                <a:buFontTx/>
                <a:buNone/>
                <a:tabLst/>
                <a:defRPr/>
              </a:pPr>
              <a:t>7</a:t>
            </a:fld>
            <a:endParaRPr kumimoji="0" lang="en-GB" sz="9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cxnSp>
        <p:nvCxnSpPr>
          <p:cNvPr id="63" name="Straight Connector 62"/>
          <p:cNvCxnSpPr/>
          <p:nvPr/>
        </p:nvCxnSpPr>
        <p:spPr bwMode="auto">
          <a:xfrm>
            <a:off x="3976133" y="-1631401"/>
            <a:ext cx="0" cy="3365178"/>
          </a:xfrm>
          <a:prstGeom prst="line">
            <a:avLst/>
          </a:prstGeom>
          <a:solidFill>
            <a:schemeClr val="tx2"/>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 name="Title 1">
            <a:extLst>
              <a:ext uri="{FF2B5EF4-FFF2-40B4-BE49-F238E27FC236}">
                <a16:creationId xmlns:a16="http://schemas.microsoft.com/office/drawing/2014/main" id="{220ACB32-8AB5-B15F-4952-D81958AFF544}"/>
              </a:ext>
            </a:extLst>
          </p:cNvPr>
          <p:cNvSpPr>
            <a:spLocks noGrp="1"/>
          </p:cNvSpPr>
          <p:nvPr>
            <p:ph type="title"/>
          </p:nvPr>
        </p:nvSpPr>
        <p:spPr>
          <a:xfrm>
            <a:off x="374134" y="197123"/>
            <a:ext cx="8404225" cy="633413"/>
          </a:xfrm>
        </p:spPr>
        <p:txBody>
          <a:bodyPr vert="horz"/>
          <a:lstStyle/>
          <a:p>
            <a:r>
              <a:rPr lang="en-GB" sz="2000" dirty="0">
                <a:ea typeface="Times New Roman" panose="02020603050405020304" pitchFamily="18" charset="0"/>
              </a:rPr>
              <a:t>Introduction to the Data Point Model</a:t>
            </a:r>
            <a:endParaRPr lang="en-US" sz="2000" dirty="0"/>
          </a:p>
        </p:txBody>
      </p:sp>
      <p:sp>
        <p:nvSpPr>
          <p:cNvPr id="3" name="TextBox 2">
            <a:extLst>
              <a:ext uri="{FF2B5EF4-FFF2-40B4-BE49-F238E27FC236}">
                <a16:creationId xmlns:a16="http://schemas.microsoft.com/office/drawing/2014/main" id="{87DDF822-AAAB-3379-595E-1881CEFB89DF}"/>
              </a:ext>
            </a:extLst>
          </p:cNvPr>
          <p:cNvSpPr txBox="1"/>
          <p:nvPr/>
        </p:nvSpPr>
        <p:spPr>
          <a:xfrm>
            <a:off x="4590813" y="1131326"/>
            <a:ext cx="4449323" cy="246221"/>
          </a:xfrm>
          <a:prstGeom prst="rect">
            <a:avLst/>
          </a:prstGeom>
          <a:noFill/>
        </p:spPr>
        <p:txBody>
          <a:bodyPr wrap="square">
            <a:spAutoFit/>
          </a:bodyPr>
          <a:lstStyle/>
          <a:p>
            <a:pPr marL="171450" lvl="1" indent="-171450" algn="just" defTabSz="533387">
              <a:spcBef>
                <a:spcPts val="600"/>
              </a:spcBef>
              <a:spcAft>
                <a:spcPts val="600"/>
              </a:spcAft>
              <a:buClr>
                <a:srgbClr val="585858"/>
              </a:buClr>
              <a:buFont typeface="Arial" panose="020B0604020202020204" pitchFamily="34" charset="0"/>
              <a:buChar char="•"/>
              <a:defRPr/>
            </a:pPr>
            <a:endParaRPr lang="en-GB" sz="1000" dirty="0">
              <a:solidFill>
                <a:srgbClr val="585858"/>
              </a:solidFill>
              <a:latin typeface="Arial"/>
              <a:ea typeface="Calibri"/>
            </a:endParaRPr>
          </a:p>
        </p:txBody>
      </p:sp>
      <p:sp>
        <p:nvSpPr>
          <p:cNvPr id="27" name="Shape 587">
            <a:extLst>
              <a:ext uri="{FF2B5EF4-FFF2-40B4-BE49-F238E27FC236}">
                <a16:creationId xmlns:a16="http://schemas.microsoft.com/office/drawing/2014/main" id="{285B6E6F-78B8-2BD2-C7D1-4DE719C503C2}"/>
              </a:ext>
            </a:extLst>
          </p:cNvPr>
          <p:cNvSpPr/>
          <p:nvPr/>
        </p:nvSpPr>
        <p:spPr>
          <a:xfrm>
            <a:off x="154825" y="590277"/>
            <a:ext cx="8782038" cy="462077"/>
          </a:xfrm>
          <a:prstGeom prst="rect">
            <a:avLst/>
          </a:prstGeom>
          <a:solidFill>
            <a:schemeClr val="tx2"/>
          </a:solidFill>
          <a:ln w="12700" cap="flat">
            <a:noFill/>
            <a:miter lim="400000"/>
          </a:ln>
          <a:effectLst/>
        </p:spPr>
        <p:txBody>
          <a:bodyPr wrap="square" lIns="45719" tIns="45719" rIns="45719" bIns="45719" numCol="1"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solidFill>
                  <a:srgbClr val="FFFFFF"/>
                </a:solidFill>
              </a:defRPr>
            </a:pPr>
            <a:r>
              <a:rPr lang="en-GB" sz="1100" b="1" u="sng" dirty="0"/>
              <a:t>DPM 2.0 Improvements from DPM</a:t>
            </a:r>
            <a:endParaRPr lang="en-GB" sz="1100" b="1" dirty="0"/>
          </a:p>
        </p:txBody>
      </p:sp>
      <p:sp>
        <p:nvSpPr>
          <p:cNvPr id="2" name="TextBox 1">
            <a:extLst>
              <a:ext uri="{FF2B5EF4-FFF2-40B4-BE49-F238E27FC236}">
                <a16:creationId xmlns:a16="http://schemas.microsoft.com/office/drawing/2014/main" id="{B92DC7CD-2974-7981-5E89-607D1E5CA654}"/>
              </a:ext>
            </a:extLst>
          </p:cNvPr>
          <p:cNvSpPr txBox="1"/>
          <p:nvPr/>
        </p:nvSpPr>
        <p:spPr>
          <a:xfrm>
            <a:off x="154825" y="1173633"/>
            <a:ext cx="8721043" cy="2893100"/>
          </a:xfrm>
          <a:prstGeom prst="rect">
            <a:avLst/>
          </a:prstGeom>
          <a:noFill/>
        </p:spPr>
        <p:txBody>
          <a:bodyPr wrap="square">
            <a:spAutoFit/>
          </a:bodyPr>
          <a:lstStyle/>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Definition of a role for each individual reporting value (fact or key variables, attributes)</a:t>
            </a: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Definition of relationships between reporting values</a:t>
            </a:r>
            <a:endParaRPr lang="en-GB" sz="1400" b="1" dirty="0">
              <a:solidFill>
                <a:srgbClr val="003399"/>
              </a:solidFill>
              <a:latin typeface="Arial"/>
              <a:ea typeface="ヒラギノ角ゴ Pro W3"/>
              <a:cs typeface="Arial"/>
            </a:endParaRP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Definition of global variables</a:t>
            </a:r>
            <a:endParaRPr lang="en-GB" sz="1400" dirty="0">
              <a:solidFill>
                <a:schemeClr val="bg2">
                  <a:lumMod val="50000"/>
                </a:schemeClr>
              </a:solidFill>
              <a:latin typeface="Arial"/>
              <a:ea typeface="ヒラギノ角ゴ Pro W3"/>
              <a:cs typeface="Arial"/>
            </a:endParaRP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Definition of concepts whose definition combines/is based on other concepts</a:t>
            </a: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Grouping of categories (super categories)</a:t>
            </a: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dirty="0">
                <a:solidFill>
                  <a:schemeClr val="bg2">
                    <a:lumMod val="50000"/>
                  </a:schemeClr>
                </a:solidFill>
                <a:latin typeface="Arial"/>
                <a:ea typeface="ヒラギノ角ゴ Pro W3"/>
                <a:cs typeface="Arial"/>
              </a:rPr>
              <a:t>….</a:t>
            </a:r>
          </a:p>
          <a:p>
            <a:pPr marL="171450" lvl="1" indent="-171450" algn="just" defTabSz="533387">
              <a:spcBef>
                <a:spcPts val="600"/>
              </a:spcBef>
              <a:spcAft>
                <a:spcPts val="600"/>
              </a:spcAft>
              <a:buClr>
                <a:srgbClr val="585858"/>
              </a:buClr>
              <a:buFont typeface="Arial" panose="020B0604020202020204" pitchFamily="34" charset="0"/>
              <a:buChar char="•"/>
              <a:defRPr/>
            </a:pPr>
            <a:r>
              <a:rPr lang="en-US" sz="1400" b="1" dirty="0">
                <a:solidFill>
                  <a:schemeClr val="bg2">
                    <a:lumMod val="50000"/>
                  </a:schemeClr>
                </a:solidFill>
                <a:latin typeface="Arial"/>
                <a:ea typeface="ヒラギノ角ゴ Pro W3"/>
                <a:cs typeface="Arial"/>
              </a:rPr>
              <a:t>Enhancement of interoperability with similar standards (SDMX)</a:t>
            </a:r>
          </a:p>
          <a:p>
            <a:pPr marL="171450" lvl="1" indent="-171450" algn="just" defTabSz="533387">
              <a:spcBef>
                <a:spcPts val="600"/>
              </a:spcBef>
              <a:spcAft>
                <a:spcPts val="600"/>
              </a:spcAft>
              <a:buClr>
                <a:srgbClr val="585858"/>
              </a:buClr>
              <a:buFont typeface="Arial" panose="020B0604020202020204" pitchFamily="34" charset="0"/>
              <a:buChar char="•"/>
              <a:defRPr/>
            </a:pPr>
            <a:endParaRPr lang="en-GB" sz="1400" dirty="0">
              <a:solidFill>
                <a:schemeClr val="bg2">
                  <a:lumMod val="50000"/>
                </a:schemeClr>
              </a:solidFill>
              <a:latin typeface="Arial"/>
              <a:ea typeface="ヒラギノ角ゴ Pro W3"/>
              <a:cs typeface="Arial"/>
            </a:endParaRPr>
          </a:p>
        </p:txBody>
      </p:sp>
    </p:spTree>
    <p:extLst>
      <p:ext uri="{BB962C8B-B14F-4D97-AF65-F5344CB8AC3E}">
        <p14:creationId xmlns:p14="http://schemas.microsoft.com/office/powerpoint/2010/main" val="2562896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938" name="Straight Connector 1"/>
          <p:cNvCxnSpPr>
            <a:cxnSpLocks noChangeShapeType="1"/>
          </p:cNvCxnSpPr>
          <p:nvPr/>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2" name="Rectangle 2"/>
          <p:cNvSpPr>
            <a:spLocks noGrp="1" noChangeArrowheads="1"/>
          </p:cNvSpPr>
          <p:nvPr>
            <p:ph type="title"/>
          </p:nvPr>
        </p:nvSpPr>
        <p:spPr>
          <a:xfrm>
            <a:off x="468313" y="411163"/>
            <a:ext cx="8194675" cy="635000"/>
          </a:xfrm>
        </p:spPr>
        <p:txBody>
          <a:bodyPr/>
          <a:lstStyle/>
          <a:p>
            <a:pPr>
              <a:lnSpc>
                <a:spcPts val="2800"/>
              </a:lnSpc>
              <a:defRPr/>
            </a:pPr>
            <a:r>
              <a:rPr b="1" dirty="0"/>
              <a:t>DPM Refit vision</a:t>
            </a:r>
          </a:p>
        </p:txBody>
      </p:sp>
      <p:sp>
        <p:nvSpPr>
          <p:cNvPr id="39941" name="Slide Number Placeholder 4"/>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BA2B5551-5054-45F9-AE36-59F11BB8562E}" type="slidenum">
              <a:rPr altLang="en-US" sz="900" smtClean="0">
                <a:solidFill>
                  <a:schemeClr val="bg1"/>
                </a:solidFill>
                <a:ea typeface="ヒラギノ角ゴ Pro W3"/>
                <a:cs typeface="ヒラギノ角ゴ Pro W3"/>
              </a:rPr>
              <a:pPr eaLnBrk="1" hangingPunct="1">
                <a:lnSpc>
                  <a:spcPct val="100000"/>
                </a:lnSpc>
                <a:spcBef>
                  <a:spcPct val="0"/>
                </a:spcBef>
                <a:buClrTx/>
              </a:pPr>
              <a:t>8</a:t>
            </a:fld>
            <a:endParaRPr altLang="en-US" sz="900">
              <a:solidFill>
                <a:schemeClr val="bg1"/>
              </a:solidFill>
              <a:ea typeface="ヒラギノ角ゴ Pro W3"/>
              <a:cs typeface="ヒラギノ角ゴ Pro W3"/>
            </a:endParaRPr>
          </a:p>
        </p:txBody>
      </p:sp>
      <p:sp>
        <p:nvSpPr>
          <p:cNvPr id="39943"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a:t>[Please select]</a:t>
            </a:r>
          </a:p>
        </p:txBody>
      </p:sp>
      <p:sp>
        <p:nvSpPr>
          <p:cNvPr id="39944" name="DocumentStatus"/>
          <p:cNvSpPr txBox="1">
            <a:spLocks noChangeArrowheads="1"/>
          </p:cNvSpPr>
          <p:nvPr/>
        </p:nvSpPr>
        <p:spPr bwMode="auto">
          <a:xfrm>
            <a:off x="6875463" y="2349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30000"/>
              </a:spcBef>
              <a:buClr>
                <a:schemeClr val="tx2"/>
              </a:buClr>
              <a:defRPr sz="2200">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sz="1600">
                <a:solidFill>
                  <a:schemeClr val="tx1"/>
                </a:solidFill>
                <a:latin typeface="Arial" pitchFamily="34" charset="0"/>
                <a:cs typeface="Arial" pitchFamily="34" charset="0"/>
              </a:defRPr>
            </a:lvl3pPr>
            <a:lvl4pPr marL="1600200" indent="-228600">
              <a:defRPr sz="1600">
                <a:solidFill>
                  <a:schemeClr val="tx1"/>
                </a:solidFill>
                <a:latin typeface="Arial" pitchFamily="34" charset="0"/>
                <a:cs typeface="Arial" pitchFamily="34" charset="0"/>
              </a:defRPr>
            </a:lvl4pPr>
            <a:lvl5pPr marL="2057400" indent="-228600">
              <a:buFont typeface="Times" pitchFamily="18" charset="0"/>
              <a:defRPr sz="1600" i="1">
                <a:solidFill>
                  <a:schemeClr val="tx1"/>
                </a:solidFill>
                <a:latin typeface="Arial" pitchFamily="34" charset="0"/>
                <a:cs typeface="Arial" pitchFamily="34" charset="0"/>
              </a:defRPr>
            </a:lvl5pPr>
            <a:lvl6pPr marL="25146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fontAlgn="base">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a:spcBef>
                <a:spcPct val="0"/>
              </a:spcBef>
              <a:buClrTx/>
            </a:pPr>
            <a:r>
              <a:rPr lang="en-GB" altLang="en-US" sz="700" b="1" dirty="0"/>
              <a:t>[Please select]</a:t>
            </a:r>
          </a:p>
        </p:txBody>
      </p:sp>
      <p:pic>
        <p:nvPicPr>
          <p:cNvPr id="4" name="Picture 3">
            <a:extLst>
              <a:ext uri="{FF2B5EF4-FFF2-40B4-BE49-F238E27FC236}">
                <a16:creationId xmlns:a16="http://schemas.microsoft.com/office/drawing/2014/main" id="{F37890BE-E3D3-410C-A492-9956E3474F0A}"/>
              </a:ext>
            </a:extLst>
          </p:cNvPr>
          <p:cNvPicPr>
            <a:picLocks noChangeAspect="1"/>
          </p:cNvPicPr>
          <p:nvPr/>
        </p:nvPicPr>
        <p:blipFill>
          <a:blip r:embed="rId3"/>
          <a:stretch>
            <a:fillRect/>
          </a:stretch>
        </p:blipFill>
        <p:spPr>
          <a:xfrm>
            <a:off x="455571" y="2962275"/>
            <a:ext cx="993857" cy="900906"/>
          </a:xfrm>
          <a:prstGeom prst="rect">
            <a:avLst/>
          </a:prstGeom>
        </p:spPr>
      </p:pic>
      <p:pic>
        <p:nvPicPr>
          <p:cNvPr id="5" name="Picture 4">
            <a:extLst>
              <a:ext uri="{FF2B5EF4-FFF2-40B4-BE49-F238E27FC236}">
                <a16:creationId xmlns:a16="http://schemas.microsoft.com/office/drawing/2014/main" id="{26B44F99-3CA7-4E2F-848A-09B9755AE1DD}"/>
              </a:ext>
            </a:extLst>
          </p:cNvPr>
          <p:cNvPicPr>
            <a:picLocks noChangeAspect="1"/>
          </p:cNvPicPr>
          <p:nvPr/>
        </p:nvPicPr>
        <p:blipFill>
          <a:blip r:embed="rId4"/>
          <a:stretch>
            <a:fillRect/>
          </a:stretch>
        </p:blipFill>
        <p:spPr>
          <a:xfrm>
            <a:off x="434965" y="1858963"/>
            <a:ext cx="958869" cy="1038224"/>
          </a:xfrm>
          <a:prstGeom prst="rect">
            <a:avLst/>
          </a:prstGeom>
        </p:spPr>
      </p:pic>
      <p:pic>
        <p:nvPicPr>
          <p:cNvPr id="6" name="Picture 5">
            <a:extLst>
              <a:ext uri="{FF2B5EF4-FFF2-40B4-BE49-F238E27FC236}">
                <a16:creationId xmlns:a16="http://schemas.microsoft.com/office/drawing/2014/main" id="{B051FB8F-FB30-43D8-A2B6-13C97590E290}"/>
              </a:ext>
            </a:extLst>
          </p:cNvPr>
          <p:cNvPicPr>
            <a:picLocks noChangeAspect="1"/>
          </p:cNvPicPr>
          <p:nvPr/>
        </p:nvPicPr>
        <p:blipFill>
          <a:blip r:embed="rId5"/>
          <a:stretch>
            <a:fillRect/>
          </a:stretch>
        </p:blipFill>
        <p:spPr>
          <a:xfrm>
            <a:off x="557484" y="892969"/>
            <a:ext cx="853844" cy="900906"/>
          </a:xfrm>
          <a:prstGeom prst="rect">
            <a:avLst/>
          </a:prstGeom>
        </p:spPr>
      </p:pic>
      <p:pic>
        <p:nvPicPr>
          <p:cNvPr id="7" name="Picture 6">
            <a:extLst>
              <a:ext uri="{FF2B5EF4-FFF2-40B4-BE49-F238E27FC236}">
                <a16:creationId xmlns:a16="http://schemas.microsoft.com/office/drawing/2014/main" id="{4E8C4053-DC5C-40E5-97E2-1A2B3480E798}"/>
              </a:ext>
            </a:extLst>
          </p:cNvPr>
          <p:cNvPicPr>
            <a:picLocks noChangeAspect="1"/>
          </p:cNvPicPr>
          <p:nvPr/>
        </p:nvPicPr>
        <p:blipFill>
          <a:blip r:embed="rId6"/>
          <a:stretch>
            <a:fillRect/>
          </a:stretch>
        </p:blipFill>
        <p:spPr>
          <a:xfrm>
            <a:off x="407798" y="3819526"/>
            <a:ext cx="973335" cy="1038224"/>
          </a:xfrm>
          <a:prstGeom prst="rect">
            <a:avLst/>
          </a:prstGeom>
        </p:spPr>
      </p:pic>
      <p:sp>
        <p:nvSpPr>
          <p:cNvPr id="10" name="TextBox 9">
            <a:extLst>
              <a:ext uri="{FF2B5EF4-FFF2-40B4-BE49-F238E27FC236}">
                <a16:creationId xmlns:a16="http://schemas.microsoft.com/office/drawing/2014/main" id="{2C7EB1F6-C598-43EF-9A36-DB4ABDABACA1}"/>
              </a:ext>
            </a:extLst>
          </p:cNvPr>
          <p:cNvSpPr txBox="1"/>
          <p:nvPr/>
        </p:nvSpPr>
        <p:spPr>
          <a:xfrm>
            <a:off x="1568450" y="1162051"/>
            <a:ext cx="5099050" cy="369332"/>
          </a:xfrm>
          <a:prstGeom prst="rect">
            <a:avLst/>
          </a:prstGeom>
          <a:noFill/>
        </p:spPr>
        <p:txBody>
          <a:bodyPr wrap="square" rtlCol="0">
            <a:spAutoFit/>
          </a:bodyPr>
          <a:lstStyle/>
          <a:p>
            <a:r>
              <a:rPr lang="en-GB" dirty="0"/>
              <a:t>DPM Methodology defined as ISO standard</a:t>
            </a:r>
          </a:p>
        </p:txBody>
      </p:sp>
      <p:sp>
        <p:nvSpPr>
          <p:cNvPr id="15" name="TextBox 14">
            <a:extLst>
              <a:ext uri="{FF2B5EF4-FFF2-40B4-BE49-F238E27FC236}">
                <a16:creationId xmlns:a16="http://schemas.microsoft.com/office/drawing/2014/main" id="{5E2014AD-B1AF-4BF2-8558-84626C4B8009}"/>
              </a:ext>
            </a:extLst>
          </p:cNvPr>
          <p:cNvSpPr txBox="1"/>
          <p:nvPr/>
        </p:nvSpPr>
        <p:spPr>
          <a:xfrm>
            <a:off x="1568450" y="1988531"/>
            <a:ext cx="6064250" cy="646331"/>
          </a:xfrm>
          <a:prstGeom prst="rect">
            <a:avLst/>
          </a:prstGeom>
          <a:noFill/>
        </p:spPr>
        <p:txBody>
          <a:bodyPr wrap="square" rtlCol="0">
            <a:spAutoFit/>
          </a:bodyPr>
          <a:lstStyle/>
          <a:p>
            <a:r>
              <a:rPr lang="en-GB"/>
              <a:t>Unified metamodel applicable to all data exchanges, from highly aggregated data points to very granular data sets  </a:t>
            </a:r>
          </a:p>
        </p:txBody>
      </p:sp>
      <p:sp>
        <p:nvSpPr>
          <p:cNvPr id="16" name="TextBox 15">
            <a:extLst>
              <a:ext uri="{FF2B5EF4-FFF2-40B4-BE49-F238E27FC236}">
                <a16:creationId xmlns:a16="http://schemas.microsoft.com/office/drawing/2014/main" id="{5256FE94-A28F-49F2-A379-67D4409F8501}"/>
              </a:ext>
            </a:extLst>
          </p:cNvPr>
          <p:cNvSpPr txBox="1"/>
          <p:nvPr/>
        </p:nvSpPr>
        <p:spPr>
          <a:xfrm>
            <a:off x="1568450" y="2922885"/>
            <a:ext cx="6064250" cy="923330"/>
          </a:xfrm>
          <a:prstGeom prst="rect">
            <a:avLst/>
          </a:prstGeom>
          <a:noFill/>
        </p:spPr>
        <p:txBody>
          <a:bodyPr wrap="square" rtlCol="0">
            <a:spAutoFit/>
          </a:bodyPr>
          <a:lstStyle/>
          <a:p>
            <a:r>
              <a:rPr lang="en-GB"/>
              <a:t>Total convergence of EBA and EIOPA methods, models, processes, and tools used for the development of data modelling techniques</a:t>
            </a:r>
          </a:p>
        </p:txBody>
      </p:sp>
      <p:sp>
        <p:nvSpPr>
          <p:cNvPr id="17" name="TextBox 16">
            <a:extLst>
              <a:ext uri="{FF2B5EF4-FFF2-40B4-BE49-F238E27FC236}">
                <a16:creationId xmlns:a16="http://schemas.microsoft.com/office/drawing/2014/main" id="{A50A01F3-67A9-4FE9-88C3-9ABC19EBB82A}"/>
              </a:ext>
            </a:extLst>
          </p:cNvPr>
          <p:cNvSpPr txBox="1"/>
          <p:nvPr/>
        </p:nvSpPr>
        <p:spPr>
          <a:xfrm>
            <a:off x="1568450" y="4015472"/>
            <a:ext cx="6064250" cy="646331"/>
          </a:xfrm>
          <a:prstGeom prst="rect">
            <a:avLst/>
          </a:prstGeom>
          <a:noFill/>
        </p:spPr>
        <p:txBody>
          <a:bodyPr wrap="square" rtlCol="0">
            <a:spAutoFit/>
          </a:bodyPr>
          <a:lstStyle/>
          <a:p>
            <a:r>
              <a:rPr lang="en-GB" dirty="0"/>
              <a:t>Enabling subsequent semantic harmonisation of data dictionaries across different domains </a:t>
            </a:r>
          </a:p>
        </p:txBody>
      </p:sp>
    </p:spTree>
    <p:extLst>
      <p:ext uri="{BB962C8B-B14F-4D97-AF65-F5344CB8AC3E}">
        <p14:creationId xmlns:p14="http://schemas.microsoft.com/office/powerpoint/2010/main" val="8274022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1"/>
          </p:nvPr>
        </p:nvPicPr>
        <p:blipFill rotWithShape="1">
          <a:blip r:embed="rId2">
            <a:extLst>
              <a:ext uri="{28A0092B-C50C-407E-A947-70E740481C1C}">
                <a14:useLocalDpi xmlns:a14="http://schemas.microsoft.com/office/drawing/2010/main" val="0"/>
              </a:ext>
            </a:extLst>
          </a:blip>
          <a:srcRect t="2087" b="1252"/>
          <a:stretch/>
        </p:blipFill>
        <p:spPr>
          <a:xfrm>
            <a:off x="1" y="-3175"/>
            <a:ext cx="4621213" cy="5146675"/>
          </a:xfrm>
        </p:spPr>
      </p:pic>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9</a:t>
            </a:fld>
            <a:endParaRPr altLang="en-US" sz="900">
              <a:solidFill>
                <a:schemeClr val="bg1"/>
              </a:solidFill>
              <a:ea typeface="ヒラギノ角ゴ Pro W3"/>
              <a:cs typeface="ヒラギノ角ゴ Pro W3"/>
            </a:endParaRPr>
          </a:p>
        </p:txBody>
      </p:sp>
      <p:sp>
        <p:nvSpPr>
          <p:cNvPr id="5" name="Text Placeholder 4"/>
          <p:cNvSpPr>
            <a:spLocks noGrp="1"/>
          </p:cNvSpPr>
          <p:nvPr>
            <p:ph type="body" sz="quarter" idx="15"/>
          </p:nvPr>
        </p:nvSpPr>
        <p:spPr>
          <a:xfrm>
            <a:off x="4816475" y="2241770"/>
            <a:ext cx="3968750" cy="1130301"/>
          </a:xfrm>
        </p:spPr>
        <p:txBody>
          <a:bodyPr/>
          <a:lstStyle/>
          <a:p>
            <a:pPr>
              <a:lnSpc>
                <a:spcPts val="3500"/>
              </a:lnSpc>
              <a:spcBef>
                <a:spcPct val="0"/>
              </a:spcBef>
              <a:defRPr/>
            </a:pPr>
            <a:r>
              <a:rPr lang="en-GB" sz="4000" dirty="0"/>
              <a:t>2. </a:t>
            </a:r>
            <a:r>
              <a:rPr lang="en-US" sz="4000" dirty="0"/>
              <a:t>Overview of DPM 2.0 data model</a:t>
            </a:r>
          </a:p>
        </p:txBody>
      </p:sp>
    </p:spTree>
    <p:extLst>
      <p:ext uri="{BB962C8B-B14F-4D97-AF65-F5344CB8AC3E}">
        <p14:creationId xmlns:p14="http://schemas.microsoft.com/office/powerpoint/2010/main" val="3495884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GENDA_2_ASSOC" val="-1"/>
</p:tagLst>
</file>

<file path=ppt/tags/tag100.xml><?xml version="1.0" encoding="utf-8"?>
<p:tagLst xmlns:a="http://schemas.openxmlformats.org/drawingml/2006/main" xmlns:r="http://schemas.openxmlformats.org/officeDocument/2006/relationships" xmlns:p="http://schemas.openxmlformats.org/presentationml/2006/main">
  <p:tag name="AGENDA_2" val="-1"/>
</p:tagLst>
</file>

<file path=ppt/tags/tag101.xml><?xml version="1.0" encoding="utf-8"?>
<p:tagLst xmlns:a="http://schemas.openxmlformats.org/drawingml/2006/main" xmlns:r="http://schemas.openxmlformats.org/officeDocument/2006/relationships" xmlns:p="http://schemas.openxmlformats.org/presentationml/2006/main">
  <p:tag name="AGENDA_3" val="-1"/>
</p:tagLst>
</file>

<file path=ppt/tags/tag102.xml><?xml version="1.0" encoding="utf-8"?>
<p:tagLst xmlns:a="http://schemas.openxmlformats.org/drawingml/2006/main" xmlns:r="http://schemas.openxmlformats.org/officeDocument/2006/relationships" xmlns:p="http://schemas.openxmlformats.org/presentationml/2006/main">
  <p:tag name="AGENDA_1" val="-1"/>
</p:tagLst>
</file>

<file path=ppt/tags/tag103.xml><?xml version="1.0" encoding="utf-8"?>
<p:tagLst xmlns:a="http://schemas.openxmlformats.org/drawingml/2006/main" xmlns:r="http://schemas.openxmlformats.org/officeDocument/2006/relationships" xmlns:p="http://schemas.openxmlformats.org/presentationml/2006/main">
  <p:tag name="AGENDA_2_ASSOC" val="-1"/>
</p:tagLst>
</file>

<file path=ppt/tags/tag104.xml><?xml version="1.0" encoding="utf-8"?>
<p:tagLst xmlns:a="http://schemas.openxmlformats.org/drawingml/2006/main" xmlns:r="http://schemas.openxmlformats.org/officeDocument/2006/relationships" xmlns:p="http://schemas.openxmlformats.org/presentationml/2006/main">
  <p:tag name="AGENDA_3_ASSOC" val="-1"/>
</p:tagLst>
</file>

<file path=ppt/tags/tag105.xml><?xml version="1.0" encoding="utf-8"?>
<p:tagLst xmlns:a="http://schemas.openxmlformats.org/drawingml/2006/main" xmlns:r="http://schemas.openxmlformats.org/officeDocument/2006/relationships" xmlns:p="http://schemas.openxmlformats.org/presentationml/2006/main">
  <p:tag name="AGENDA_2" val="-1"/>
</p:tagLst>
</file>

<file path=ppt/tags/tag106.xml><?xml version="1.0" encoding="utf-8"?>
<p:tagLst xmlns:a="http://schemas.openxmlformats.org/drawingml/2006/main" xmlns:r="http://schemas.openxmlformats.org/officeDocument/2006/relationships" xmlns:p="http://schemas.openxmlformats.org/presentationml/2006/main">
  <p:tag name="AGENDA_3"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GENDA_2" val="-1"/>
</p:tagLst>
</file>

<file path=ppt/tags/tag11.xml><?xml version="1.0" encoding="utf-8"?>
<p:tagLst xmlns:a="http://schemas.openxmlformats.org/drawingml/2006/main" xmlns:r="http://schemas.openxmlformats.org/officeDocument/2006/relationships" xmlns:p="http://schemas.openxmlformats.org/presentationml/2006/main">
  <p:tag name="AGENDA_3_ASSOC" val="-1"/>
</p:tagLst>
</file>

<file path=ppt/tags/tag110.xml><?xml version="1.0" encoding="utf-8"?>
<p:tagLst xmlns:a="http://schemas.openxmlformats.org/drawingml/2006/main" xmlns:r="http://schemas.openxmlformats.org/officeDocument/2006/relationships" xmlns:p="http://schemas.openxmlformats.org/presentationml/2006/main">
  <p:tag name="AGENDA_2" val="-1"/>
</p:tagLst>
</file>

<file path=ppt/tags/tag111.xml><?xml version="1.0" encoding="utf-8"?>
<p:tagLst xmlns:a="http://schemas.openxmlformats.org/drawingml/2006/main" xmlns:r="http://schemas.openxmlformats.org/officeDocument/2006/relationships" xmlns:p="http://schemas.openxmlformats.org/presentationml/2006/main">
  <p:tag name="AGENDA_2" val="-1"/>
</p:tagLst>
</file>

<file path=ppt/tags/tag112.xml><?xml version="1.0" encoding="utf-8"?>
<p:tagLst xmlns:a="http://schemas.openxmlformats.org/drawingml/2006/main" xmlns:r="http://schemas.openxmlformats.org/officeDocument/2006/relationships" xmlns:p="http://schemas.openxmlformats.org/presentationml/2006/main">
  <p:tag name="AGENDA_2"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GENDA_2"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AGENDA_1_ASSOC" val="-1"/>
</p:tagLst>
</file>

<file path=ppt/tags/tag127.xml><?xml version="1.0" encoding="utf-8"?>
<p:tagLst xmlns:a="http://schemas.openxmlformats.org/drawingml/2006/main" xmlns:r="http://schemas.openxmlformats.org/officeDocument/2006/relationships" xmlns:p="http://schemas.openxmlformats.org/presentationml/2006/main">
  <p:tag name="AGENDA_2_ASSOC" val="-1"/>
</p:tagLst>
</file>

<file path=ppt/tags/tag128.xml><?xml version="1.0" encoding="utf-8"?>
<p:tagLst xmlns:a="http://schemas.openxmlformats.org/drawingml/2006/main" xmlns:r="http://schemas.openxmlformats.org/officeDocument/2006/relationships" xmlns:p="http://schemas.openxmlformats.org/presentationml/2006/main">
  <p:tag name="AGENDA_3_ASSOC" val="-1"/>
</p:tagLst>
</file>

<file path=ppt/tags/tag129.xml><?xml version="1.0" encoding="utf-8"?>
<p:tagLst xmlns:a="http://schemas.openxmlformats.org/drawingml/2006/main" xmlns:r="http://schemas.openxmlformats.org/officeDocument/2006/relationships" xmlns:p="http://schemas.openxmlformats.org/presentationml/2006/main">
  <p:tag name="AGENDA_2" val="-1"/>
</p:tagLst>
</file>

<file path=ppt/tags/tag13.xml><?xml version="1.0" encoding="utf-8"?>
<p:tagLst xmlns:a="http://schemas.openxmlformats.org/drawingml/2006/main" xmlns:r="http://schemas.openxmlformats.org/officeDocument/2006/relationships" xmlns:p="http://schemas.openxmlformats.org/presentationml/2006/main">
  <p:tag name="AGENDA_3" val="-1"/>
</p:tagLst>
</file>

<file path=ppt/tags/tag130.xml><?xml version="1.0" encoding="utf-8"?>
<p:tagLst xmlns:a="http://schemas.openxmlformats.org/drawingml/2006/main" xmlns:r="http://schemas.openxmlformats.org/officeDocument/2006/relationships" xmlns:p="http://schemas.openxmlformats.org/presentationml/2006/main">
  <p:tag name="AGENDA_3" val="-1"/>
</p:tagLst>
</file>

<file path=ppt/tags/tag131.xml><?xml version="1.0" encoding="utf-8"?>
<p:tagLst xmlns:a="http://schemas.openxmlformats.org/drawingml/2006/main" xmlns:r="http://schemas.openxmlformats.org/officeDocument/2006/relationships" xmlns:p="http://schemas.openxmlformats.org/presentationml/2006/main">
  <p:tag name="AGENDA_1" val="-1"/>
</p:tagLst>
</file>

<file path=ppt/tags/tag132.xml><?xml version="1.0" encoding="utf-8"?>
<p:tagLst xmlns:a="http://schemas.openxmlformats.org/drawingml/2006/main" xmlns:r="http://schemas.openxmlformats.org/officeDocument/2006/relationships" xmlns:p="http://schemas.openxmlformats.org/presentationml/2006/main">
  <p:tag name="AGENDA_1_ASSOC" val="-1"/>
</p:tagLst>
</file>

<file path=ppt/tags/tag133.xml><?xml version="1.0" encoding="utf-8"?>
<p:tagLst xmlns:a="http://schemas.openxmlformats.org/drawingml/2006/main" xmlns:r="http://schemas.openxmlformats.org/officeDocument/2006/relationships" xmlns:p="http://schemas.openxmlformats.org/presentationml/2006/main">
  <p:tag name="AGENDA_2_ASSOC" val="-1"/>
</p:tagLst>
</file>

<file path=ppt/tags/tag134.xml><?xml version="1.0" encoding="utf-8"?>
<p:tagLst xmlns:a="http://schemas.openxmlformats.org/drawingml/2006/main" xmlns:r="http://schemas.openxmlformats.org/officeDocument/2006/relationships" xmlns:p="http://schemas.openxmlformats.org/presentationml/2006/main">
  <p:tag name="AGENDA_3_ASSOC" val="-1"/>
</p:tagLst>
</file>

<file path=ppt/tags/tag135.xml><?xml version="1.0" encoding="utf-8"?>
<p:tagLst xmlns:a="http://schemas.openxmlformats.org/drawingml/2006/main" xmlns:r="http://schemas.openxmlformats.org/officeDocument/2006/relationships" xmlns:p="http://schemas.openxmlformats.org/presentationml/2006/main">
  <p:tag name="AGENDA_2" val="-1"/>
</p:tagLst>
</file>

<file path=ppt/tags/tag136.xml><?xml version="1.0" encoding="utf-8"?>
<p:tagLst xmlns:a="http://schemas.openxmlformats.org/drawingml/2006/main" xmlns:r="http://schemas.openxmlformats.org/officeDocument/2006/relationships" xmlns:p="http://schemas.openxmlformats.org/presentationml/2006/main">
  <p:tag name="AGENDA_3" val="-1"/>
</p:tagLst>
</file>

<file path=ppt/tags/tag137.xml><?xml version="1.0" encoding="utf-8"?>
<p:tagLst xmlns:a="http://schemas.openxmlformats.org/drawingml/2006/main" xmlns:r="http://schemas.openxmlformats.org/officeDocument/2006/relationships" xmlns:p="http://schemas.openxmlformats.org/presentationml/2006/main">
  <p:tag name="AGENDA_1" val="-1"/>
</p:tagLst>
</file>

<file path=ppt/tags/tag138.xml><?xml version="1.0" encoding="utf-8"?>
<p:tagLst xmlns:a="http://schemas.openxmlformats.org/drawingml/2006/main" xmlns:r="http://schemas.openxmlformats.org/officeDocument/2006/relationships" xmlns:p="http://schemas.openxmlformats.org/presentationml/2006/main">
  <p:tag name="AGENDA_2_ASSOC" val="-1"/>
</p:tagLst>
</file>

<file path=ppt/tags/tag139.xml><?xml version="1.0" encoding="utf-8"?>
<p:tagLst xmlns:a="http://schemas.openxmlformats.org/drawingml/2006/main" xmlns:r="http://schemas.openxmlformats.org/officeDocument/2006/relationships" xmlns:p="http://schemas.openxmlformats.org/presentationml/2006/main">
  <p:tag name="AGENDA_3_ASSOC" val="-1"/>
</p:tagLst>
</file>

<file path=ppt/tags/tag14.xml><?xml version="1.0" encoding="utf-8"?>
<p:tagLst xmlns:a="http://schemas.openxmlformats.org/drawingml/2006/main" xmlns:r="http://schemas.openxmlformats.org/officeDocument/2006/relationships" xmlns:p="http://schemas.openxmlformats.org/presentationml/2006/main">
  <p:tag name="AGENDA_1" val="-1"/>
</p:tagLst>
</file>

<file path=ppt/tags/tag140.xml><?xml version="1.0" encoding="utf-8"?>
<p:tagLst xmlns:a="http://schemas.openxmlformats.org/drawingml/2006/main" xmlns:r="http://schemas.openxmlformats.org/officeDocument/2006/relationships" xmlns:p="http://schemas.openxmlformats.org/presentationml/2006/main">
  <p:tag name="AGENDA_2" val="-1"/>
</p:tagLst>
</file>

<file path=ppt/tags/tag141.xml><?xml version="1.0" encoding="utf-8"?>
<p:tagLst xmlns:a="http://schemas.openxmlformats.org/drawingml/2006/main" xmlns:r="http://schemas.openxmlformats.org/officeDocument/2006/relationships" xmlns:p="http://schemas.openxmlformats.org/presentationml/2006/main">
  <p:tag name="AGENDA_3" val="-1"/>
</p:tagLst>
</file>

<file path=ppt/tags/tag142.xml><?xml version="1.0" encoding="utf-8"?>
<p:tagLst xmlns:a="http://schemas.openxmlformats.org/drawingml/2006/main" xmlns:r="http://schemas.openxmlformats.org/officeDocument/2006/relationships" xmlns:p="http://schemas.openxmlformats.org/presentationml/2006/main">
  <p:tag name="AGENDA_2" val="-1"/>
</p:tagLst>
</file>

<file path=ppt/tags/tag143.xml><?xml version="1.0" encoding="utf-8"?>
<p:tagLst xmlns:a="http://schemas.openxmlformats.org/drawingml/2006/main" xmlns:r="http://schemas.openxmlformats.org/officeDocument/2006/relationships" xmlns:p="http://schemas.openxmlformats.org/presentationml/2006/main">
  <p:tag name="AGENDA_2" val="-1"/>
</p:tagLst>
</file>

<file path=ppt/tags/tag144.xml><?xml version="1.0" encoding="utf-8"?>
<p:tagLst xmlns:a="http://schemas.openxmlformats.org/drawingml/2006/main" xmlns:r="http://schemas.openxmlformats.org/officeDocument/2006/relationships" xmlns:p="http://schemas.openxmlformats.org/presentationml/2006/main">
  <p:tag name="AGENDA_2" val="-1"/>
</p:tagLst>
</file>

<file path=ppt/tags/tag145.xml><?xml version="1.0" encoding="utf-8"?>
<p:tagLst xmlns:a="http://schemas.openxmlformats.org/drawingml/2006/main" xmlns:r="http://schemas.openxmlformats.org/officeDocument/2006/relationships" xmlns:p="http://schemas.openxmlformats.org/presentationml/2006/main">
  <p:tag name="AGENDA_2"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AGENDA_1_ASSOC" val="-1"/>
</p:tagLst>
</file>

<file path=ppt/tags/tag149.xml><?xml version="1.0" encoding="utf-8"?>
<p:tagLst xmlns:a="http://schemas.openxmlformats.org/drawingml/2006/main" xmlns:r="http://schemas.openxmlformats.org/officeDocument/2006/relationships" xmlns:p="http://schemas.openxmlformats.org/presentationml/2006/main">
  <p:tag name="AGENDA_2_ASSOC" val="-1"/>
</p:tagLst>
</file>

<file path=ppt/tags/tag15.xml><?xml version="1.0" encoding="utf-8"?>
<p:tagLst xmlns:a="http://schemas.openxmlformats.org/drawingml/2006/main" xmlns:r="http://schemas.openxmlformats.org/officeDocument/2006/relationships" xmlns:p="http://schemas.openxmlformats.org/presentationml/2006/main">
  <p:tag name="AGENDA_2_ASSOC" val="-1"/>
</p:tagLst>
</file>

<file path=ppt/tags/tag150.xml><?xml version="1.0" encoding="utf-8"?>
<p:tagLst xmlns:a="http://schemas.openxmlformats.org/drawingml/2006/main" xmlns:r="http://schemas.openxmlformats.org/officeDocument/2006/relationships" xmlns:p="http://schemas.openxmlformats.org/presentationml/2006/main">
  <p:tag name="AGENDA_3_ASSOC" val="-1"/>
</p:tagLst>
</file>

<file path=ppt/tags/tag151.xml><?xml version="1.0" encoding="utf-8"?>
<p:tagLst xmlns:a="http://schemas.openxmlformats.org/drawingml/2006/main" xmlns:r="http://schemas.openxmlformats.org/officeDocument/2006/relationships" xmlns:p="http://schemas.openxmlformats.org/presentationml/2006/main">
  <p:tag name="AGENDA_2" val="-1"/>
</p:tagLst>
</file>

<file path=ppt/tags/tag152.xml><?xml version="1.0" encoding="utf-8"?>
<p:tagLst xmlns:a="http://schemas.openxmlformats.org/drawingml/2006/main" xmlns:r="http://schemas.openxmlformats.org/officeDocument/2006/relationships" xmlns:p="http://schemas.openxmlformats.org/presentationml/2006/main">
  <p:tag name="AGENDA_3" val="-1"/>
</p:tagLst>
</file>

<file path=ppt/tags/tag153.xml><?xml version="1.0" encoding="utf-8"?>
<p:tagLst xmlns:a="http://schemas.openxmlformats.org/drawingml/2006/main" xmlns:r="http://schemas.openxmlformats.org/officeDocument/2006/relationships" xmlns:p="http://schemas.openxmlformats.org/presentationml/2006/main">
  <p:tag name="AGENDA_1" val="-1"/>
</p:tagLst>
</file>

<file path=ppt/tags/tag154.xml><?xml version="1.0" encoding="utf-8"?>
<p:tagLst xmlns:a="http://schemas.openxmlformats.org/drawingml/2006/main" xmlns:r="http://schemas.openxmlformats.org/officeDocument/2006/relationships" xmlns:p="http://schemas.openxmlformats.org/presentationml/2006/main">
  <p:tag name="AGENDA_1_ASSOC" val="-1"/>
</p:tagLst>
</file>

<file path=ppt/tags/tag155.xml><?xml version="1.0" encoding="utf-8"?>
<p:tagLst xmlns:a="http://schemas.openxmlformats.org/drawingml/2006/main" xmlns:r="http://schemas.openxmlformats.org/officeDocument/2006/relationships" xmlns:p="http://schemas.openxmlformats.org/presentationml/2006/main">
  <p:tag name="AGENDA_2_ASSOC" val="-1"/>
</p:tagLst>
</file>

<file path=ppt/tags/tag156.xml><?xml version="1.0" encoding="utf-8"?>
<p:tagLst xmlns:a="http://schemas.openxmlformats.org/drawingml/2006/main" xmlns:r="http://schemas.openxmlformats.org/officeDocument/2006/relationships" xmlns:p="http://schemas.openxmlformats.org/presentationml/2006/main">
  <p:tag name="AGENDA_3_ASSOC" val="-1"/>
</p:tagLst>
</file>

<file path=ppt/tags/tag157.xml><?xml version="1.0" encoding="utf-8"?>
<p:tagLst xmlns:a="http://schemas.openxmlformats.org/drawingml/2006/main" xmlns:r="http://schemas.openxmlformats.org/officeDocument/2006/relationships" xmlns:p="http://schemas.openxmlformats.org/presentationml/2006/main">
  <p:tag name="AGENDA_2" val="-1"/>
</p:tagLst>
</file>

<file path=ppt/tags/tag158.xml><?xml version="1.0" encoding="utf-8"?>
<p:tagLst xmlns:a="http://schemas.openxmlformats.org/drawingml/2006/main" xmlns:r="http://schemas.openxmlformats.org/officeDocument/2006/relationships" xmlns:p="http://schemas.openxmlformats.org/presentationml/2006/main">
  <p:tag name="AGENDA_3" val="-1"/>
</p:tagLst>
</file>

<file path=ppt/tags/tag159.xml><?xml version="1.0" encoding="utf-8"?>
<p:tagLst xmlns:a="http://schemas.openxmlformats.org/drawingml/2006/main" xmlns:r="http://schemas.openxmlformats.org/officeDocument/2006/relationships" xmlns:p="http://schemas.openxmlformats.org/presentationml/2006/main">
  <p:tag name="AGENDA_1" val="-1"/>
</p:tagLst>
</file>

<file path=ppt/tags/tag16.xml><?xml version="1.0" encoding="utf-8"?>
<p:tagLst xmlns:a="http://schemas.openxmlformats.org/drawingml/2006/main" xmlns:r="http://schemas.openxmlformats.org/officeDocument/2006/relationships" xmlns:p="http://schemas.openxmlformats.org/presentationml/2006/main">
  <p:tag name="AGENDA_3_ASSOC" val="-1"/>
</p:tagLst>
</file>

<file path=ppt/tags/tag160.xml><?xml version="1.0" encoding="utf-8"?>
<p:tagLst xmlns:a="http://schemas.openxmlformats.org/drawingml/2006/main" xmlns:r="http://schemas.openxmlformats.org/officeDocument/2006/relationships" xmlns:p="http://schemas.openxmlformats.org/presentationml/2006/main">
  <p:tag name="AGENDA_2_ASSOC" val="-1"/>
</p:tagLst>
</file>

<file path=ppt/tags/tag161.xml><?xml version="1.0" encoding="utf-8"?>
<p:tagLst xmlns:a="http://schemas.openxmlformats.org/drawingml/2006/main" xmlns:r="http://schemas.openxmlformats.org/officeDocument/2006/relationships" xmlns:p="http://schemas.openxmlformats.org/presentationml/2006/main">
  <p:tag name="AGENDA_3_ASSOC" val="-1"/>
</p:tagLst>
</file>

<file path=ppt/tags/tag162.xml><?xml version="1.0" encoding="utf-8"?>
<p:tagLst xmlns:a="http://schemas.openxmlformats.org/drawingml/2006/main" xmlns:r="http://schemas.openxmlformats.org/officeDocument/2006/relationships" xmlns:p="http://schemas.openxmlformats.org/presentationml/2006/main">
  <p:tag name="AGENDA_2" val="-1"/>
</p:tagLst>
</file>

<file path=ppt/tags/tag163.xml><?xml version="1.0" encoding="utf-8"?>
<p:tagLst xmlns:a="http://schemas.openxmlformats.org/drawingml/2006/main" xmlns:r="http://schemas.openxmlformats.org/officeDocument/2006/relationships" xmlns:p="http://schemas.openxmlformats.org/presentationml/2006/main">
  <p:tag name="AGENDA_3" val="-1"/>
</p:tagLst>
</file>

<file path=ppt/tags/tag164.xml><?xml version="1.0" encoding="utf-8"?>
<p:tagLst xmlns:a="http://schemas.openxmlformats.org/drawingml/2006/main" xmlns:r="http://schemas.openxmlformats.org/officeDocument/2006/relationships" xmlns:p="http://schemas.openxmlformats.org/presentationml/2006/main">
  <p:tag name="AGENDA_2" val="-1"/>
</p:tagLst>
</file>

<file path=ppt/tags/tag165.xml><?xml version="1.0" encoding="utf-8"?>
<p:tagLst xmlns:a="http://schemas.openxmlformats.org/drawingml/2006/main" xmlns:r="http://schemas.openxmlformats.org/officeDocument/2006/relationships" xmlns:p="http://schemas.openxmlformats.org/presentationml/2006/main">
  <p:tag name="AGENDA_2" val="-1"/>
</p:tagLst>
</file>

<file path=ppt/tags/tag166.xml><?xml version="1.0" encoding="utf-8"?>
<p:tagLst xmlns:a="http://schemas.openxmlformats.org/drawingml/2006/main" xmlns:r="http://schemas.openxmlformats.org/officeDocument/2006/relationships" xmlns:p="http://schemas.openxmlformats.org/presentationml/2006/main">
  <p:tag name="AGENDA_2" val="-1"/>
</p:tagLst>
</file>

<file path=ppt/tags/tag167.xml><?xml version="1.0" encoding="utf-8"?>
<p:tagLst xmlns:a="http://schemas.openxmlformats.org/drawingml/2006/main" xmlns:r="http://schemas.openxmlformats.org/officeDocument/2006/relationships" xmlns:p="http://schemas.openxmlformats.org/presentationml/2006/main">
  <p:tag name="AGENDA_2" val="-1"/>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GENDA_2"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v0jOaSmOsLtD7bbG2GTtw"/>
</p:tagLst>
</file>

<file path=ppt/tags/tag171.xml><?xml version="1.0" encoding="utf-8"?>
<p:tagLst xmlns:a="http://schemas.openxmlformats.org/drawingml/2006/main" xmlns:r="http://schemas.openxmlformats.org/officeDocument/2006/relationships" xmlns:p="http://schemas.openxmlformats.org/presentationml/2006/main">
  <p:tag name="AGENDA_1_ASSOC" val="-1"/>
</p:tagLst>
</file>

<file path=ppt/tags/tag172.xml><?xml version="1.0" encoding="utf-8"?>
<p:tagLst xmlns:a="http://schemas.openxmlformats.org/drawingml/2006/main" xmlns:r="http://schemas.openxmlformats.org/officeDocument/2006/relationships" xmlns:p="http://schemas.openxmlformats.org/presentationml/2006/main">
  <p:tag name="AGENDA_2_ASSOC" val="-1"/>
</p:tagLst>
</file>

<file path=ppt/tags/tag173.xml><?xml version="1.0" encoding="utf-8"?>
<p:tagLst xmlns:a="http://schemas.openxmlformats.org/drawingml/2006/main" xmlns:r="http://schemas.openxmlformats.org/officeDocument/2006/relationships" xmlns:p="http://schemas.openxmlformats.org/presentationml/2006/main">
  <p:tag name="AGENDA_3_ASSOC" val="-1"/>
</p:tagLst>
</file>

<file path=ppt/tags/tag174.xml><?xml version="1.0" encoding="utf-8"?>
<p:tagLst xmlns:a="http://schemas.openxmlformats.org/drawingml/2006/main" xmlns:r="http://schemas.openxmlformats.org/officeDocument/2006/relationships" xmlns:p="http://schemas.openxmlformats.org/presentationml/2006/main">
  <p:tag name="AGENDA_2" val="-1"/>
</p:tagLst>
</file>

<file path=ppt/tags/tag175.xml><?xml version="1.0" encoding="utf-8"?>
<p:tagLst xmlns:a="http://schemas.openxmlformats.org/drawingml/2006/main" xmlns:r="http://schemas.openxmlformats.org/officeDocument/2006/relationships" xmlns:p="http://schemas.openxmlformats.org/presentationml/2006/main">
  <p:tag name="AGENDA_3" val="-1"/>
</p:tagLst>
</file>

<file path=ppt/tags/tag176.xml><?xml version="1.0" encoding="utf-8"?>
<p:tagLst xmlns:a="http://schemas.openxmlformats.org/drawingml/2006/main" xmlns:r="http://schemas.openxmlformats.org/officeDocument/2006/relationships" xmlns:p="http://schemas.openxmlformats.org/presentationml/2006/main">
  <p:tag name="AGENDA_1" val="-1"/>
</p:tagLst>
</file>

<file path=ppt/tags/tag177.xml><?xml version="1.0" encoding="utf-8"?>
<p:tagLst xmlns:a="http://schemas.openxmlformats.org/drawingml/2006/main" xmlns:r="http://schemas.openxmlformats.org/officeDocument/2006/relationships" xmlns:p="http://schemas.openxmlformats.org/presentationml/2006/main">
  <p:tag name="AGENDA_1_ASSOC" val="-1"/>
</p:tagLst>
</file>

<file path=ppt/tags/tag178.xml><?xml version="1.0" encoding="utf-8"?>
<p:tagLst xmlns:a="http://schemas.openxmlformats.org/drawingml/2006/main" xmlns:r="http://schemas.openxmlformats.org/officeDocument/2006/relationships" xmlns:p="http://schemas.openxmlformats.org/presentationml/2006/main">
  <p:tag name="AGENDA_2_ASSOC" val="-1"/>
</p:tagLst>
</file>

<file path=ppt/tags/tag179.xml><?xml version="1.0" encoding="utf-8"?>
<p:tagLst xmlns:a="http://schemas.openxmlformats.org/drawingml/2006/main" xmlns:r="http://schemas.openxmlformats.org/officeDocument/2006/relationships" xmlns:p="http://schemas.openxmlformats.org/presentationml/2006/main">
  <p:tag name="AGENDA_3_ASSOC" val="-1"/>
</p:tagLst>
</file>

<file path=ppt/tags/tag18.xml><?xml version="1.0" encoding="utf-8"?>
<p:tagLst xmlns:a="http://schemas.openxmlformats.org/drawingml/2006/main" xmlns:r="http://schemas.openxmlformats.org/officeDocument/2006/relationships" xmlns:p="http://schemas.openxmlformats.org/presentationml/2006/main">
  <p:tag name="AGENDA_3" val="-1"/>
</p:tagLst>
</file>

<file path=ppt/tags/tag180.xml><?xml version="1.0" encoding="utf-8"?>
<p:tagLst xmlns:a="http://schemas.openxmlformats.org/drawingml/2006/main" xmlns:r="http://schemas.openxmlformats.org/officeDocument/2006/relationships" xmlns:p="http://schemas.openxmlformats.org/presentationml/2006/main">
  <p:tag name="AGENDA_2" val="-1"/>
</p:tagLst>
</file>

<file path=ppt/tags/tag181.xml><?xml version="1.0" encoding="utf-8"?>
<p:tagLst xmlns:a="http://schemas.openxmlformats.org/drawingml/2006/main" xmlns:r="http://schemas.openxmlformats.org/officeDocument/2006/relationships" xmlns:p="http://schemas.openxmlformats.org/presentationml/2006/main">
  <p:tag name="AGENDA_3" val="-1"/>
</p:tagLst>
</file>

<file path=ppt/tags/tag182.xml><?xml version="1.0" encoding="utf-8"?>
<p:tagLst xmlns:a="http://schemas.openxmlformats.org/drawingml/2006/main" xmlns:r="http://schemas.openxmlformats.org/officeDocument/2006/relationships" xmlns:p="http://schemas.openxmlformats.org/presentationml/2006/main">
  <p:tag name="AGENDA_1" val="-1"/>
</p:tagLst>
</file>

<file path=ppt/tags/tag183.xml><?xml version="1.0" encoding="utf-8"?>
<p:tagLst xmlns:a="http://schemas.openxmlformats.org/drawingml/2006/main" xmlns:r="http://schemas.openxmlformats.org/officeDocument/2006/relationships" xmlns:p="http://schemas.openxmlformats.org/presentationml/2006/main">
  <p:tag name="AGENDA_2_ASSOC" val="-1"/>
</p:tagLst>
</file>

<file path=ppt/tags/tag184.xml><?xml version="1.0" encoding="utf-8"?>
<p:tagLst xmlns:a="http://schemas.openxmlformats.org/drawingml/2006/main" xmlns:r="http://schemas.openxmlformats.org/officeDocument/2006/relationships" xmlns:p="http://schemas.openxmlformats.org/presentationml/2006/main">
  <p:tag name="AGENDA_3_ASSOC" val="-1"/>
</p:tagLst>
</file>

<file path=ppt/tags/tag185.xml><?xml version="1.0" encoding="utf-8"?>
<p:tagLst xmlns:a="http://schemas.openxmlformats.org/drawingml/2006/main" xmlns:r="http://schemas.openxmlformats.org/officeDocument/2006/relationships" xmlns:p="http://schemas.openxmlformats.org/presentationml/2006/main">
  <p:tag name="AGENDA_2" val="-1"/>
</p:tagLst>
</file>

<file path=ppt/tags/tag186.xml><?xml version="1.0" encoding="utf-8"?>
<p:tagLst xmlns:a="http://schemas.openxmlformats.org/drawingml/2006/main" xmlns:r="http://schemas.openxmlformats.org/officeDocument/2006/relationships" xmlns:p="http://schemas.openxmlformats.org/presentationml/2006/main">
  <p:tag name="AGENDA_3" val="-1"/>
</p:tagLst>
</file>

<file path=ppt/tags/tag187.xml><?xml version="1.0" encoding="utf-8"?>
<p:tagLst xmlns:a="http://schemas.openxmlformats.org/drawingml/2006/main" xmlns:r="http://schemas.openxmlformats.org/officeDocument/2006/relationships" xmlns:p="http://schemas.openxmlformats.org/presentationml/2006/main">
  <p:tag name="AGENDA_2" val="-1"/>
</p:tagLst>
</file>

<file path=ppt/tags/tag188.xml><?xml version="1.0" encoding="utf-8"?>
<p:tagLst xmlns:a="http://schemas.openxmlformats.org/drawingml/2006/main" xmlns:r="http://schemas.openxmlformats.org/officeDocument/2006/relationships" xmlns:p="http://schemas.openxmlformats.org/presentationml/2006/main">
  <p:tag name="AGENDA_2" val="-1"/>
</p:tagLst>
</file>

<file path=ppt/tags/tag189.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2" val="-1"/>
</p:tagLst>
</file>

<file path=ppt/tags/tag190.xml><?xml version="1.0" encoding="utf-8"?>
<p:tagLst xmlns:a="http://schemas.openxmlformats.org/drawingml/2006/main" xmlns:r="http://schemas.openxmlformats.org/officeDocument/2006/relationships" xmlns:p="http://schemas.openxmlformats.org/presentationml/2006/main">
  <p:tag name="AGENDA_2" val="-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AGENDA_1_ASSOC" val="-1"/>
</p:tagLst>
</file>

<file path=ppt/tags/tag193.xml><?xml version="1.0" encoding="utf-8"?>
<p:tagLst xmlns:a="http://schemas.openxmlformats.org/drawingml/2006/main" xmlns:r="http://schemas.openxmlformats.org/officeDocument/2006/relationships" xmlns:p="http://schemas.openxmlformats.org/presentationml/2006/main">
  <p:tag name="AGENDA_2_ASSOC" val="-1"/>
</p:tagLst>
</file>

<file path=ppt/tags/tag194.xml><?xml version="1.0" encoding="utf-8"?>
<p:tagLst xmlns:a="http://schemas.openxmlformats.org/drawingml/2006/main" xmlns:r="http://schemas.openxmlformats.org/officeDocument/2006/relationships" xmlns:p="http://schemas.openxmlformats.org/presentationml/2006/main">
  <p:tag name="AGENDA_3_ASSOC" val="-1"/>
</p:tagLst>
</file>

<file path=ppt/tags/tag195.xml><?xml version="1.0" encoding="utf-8"?>
<p:tagLst xmlns:a="http://schemas.openxmlformats.org/drawingml/2006/main" xmlns:r="http://schemas.openxmlformats.org/officeDocument/2006/relationships" xmlns:p="http://schemas.openxmlformats.org/presentationml/2006/main">
  <p:tag name="AGENDA_2" val="-1"/>
</p:tagLst>
</file>

<file path=ppt/tags/tag196.xml><?xml version="1.0" encoding="utf-8"?>
<p:tagLst xmlns:a="http://schemas.openxmlformats.org/drawingml/2006/main" xmlns:r="http://schemas.openxmlformats.org/officeDocument/2006/relationships" xmlns:p="http://schemas.openxmlformats.org/presentationml/2006/main">
  <p:tag name="AGENDA_3" val="-1"/>
</p:tagLst>
</file>

<file path=ppt/tags/tag197.xml><?xml version="1.0" encoding="utf-8"?>
<p:tagLst xmlns:a="http://schemas.openxmlformats.org/drawingml/2006/main" xmlns:r="http://schemas.openxmlformats.org/officeDocument/2006/relationships" xmlns:p="http://schemas.openxmlformats.org/presentationml/2006/main">
  <p:tag name="AGENDA_1" val="-1"/>
</p:tagLst>
</file>

<file path=ppt/tags/tag198.xml><?xml version="1.0" encoding="utf-8"?>
<p:tagLst xmlns:a="http://schemas.openxmlformats.org/drawingml/2006/main" xmlns:r="http://schemas.openxmlformats.org/officeDocument/2006/relationships" xmlns:p="http://schemas.openxmlformats.org/presentationml/2006/main">
  <p:tag name="AGENDA_1_ASSOC" val="-1"/>
</p:tagLst>
</file>

<file path=ppt/tags/tag199.xml><?xml version="1.0" encoding="utf-8"?>
<p:tagLst xmlns:a="http://schemas.openxmlformats.org/drawingml/2006/main" xmlns:r="http://schemas.openxmlformats.org/officeDocument/2006/relationships" xmlns:p="http://schemas.openxmlformats.org/presentationml/2006/main">
  <p:tag name="AGENDA_2_ASSOC"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GENDA_2" val="-1"/>
</p:tagLst>
</file>

<file path=ppt/tags/tag200.xml><?xml version="1.0" encoding="utf-8"?>
<p:tagLst xmlns:a="http://schemas.openxmlformats.org/drawingml/2006/main" xmlns:r="http://schemas.openxmlformats.org/officeDocument/2006/relationships" xmlns:p="http://schemas.openxmlformats.org/presentationml/2006/main">
  <p:tag name="AGENDA_3_ASSOC" val="-1"/>
</p:tagLst>
</file>

<file path=ppt/tags/tag201.xml><?xml version="1.0" encoding="utf-8"?>
<p:tagLst xmlns:a="http://schemas.openxmlformats.org/drawingml/2006/main" xmlns:r="http://schemas.openxmlformats.org/officeDocument/2006/relationships" xmlns:p="http://schemas.openxmlformats.org/presentationml/2006/main">
  <p:tag name="AGENDA_2" val="-1"/>
</p:tagLst>
</file>

<file path=ppt/tags/tag202.xml><?xml version="1.0" encoding="utf-8"?>
<p:tagLst xmlns:a="http://schemas.openxmlformats.org/drawingml/2006/main" xmlns:r="http://schemas.openxmlformats.org/officeDocument/2006/relationships" xmlns:p="http://schemas.openxmlformats.org/presentationml/2006/main">
  <p:tag name="AGENDA_3" val="-1"/>
</p:tagLst>
</file>

<file path=ppt/tags/tag203.xml><?xml version="1.0" encoding="utf-8"?>
<p:tagLst xmlns:a="http://schemas.openxmlformats.org/drawingml/2006/main" xmlns:r="http://schemas.openxmlformats.org/officeDocument/2006/relationships" xmlns:p="http://schemas.openxmlformats.org/presentationml/2006/main">
  <p:tag name="AGENDA_1" val="-1"/>
</p:tagLst>
</file>

<file path=ppt/tags/tag204.xml><?xml version="1.0" encoding="utf-8"?>
<p:tagLst xmlns:a="http://schemas.openxmlformats.org/drawingml/2006/main" xmlns:r="http://schemas.openxmlformats.org/officeDocument/2006/relationships" xmlns:p="http://schemas.openxmlformats.org/presentationml/2006/main">
  <p:tag name="AGENDA_2_ASSOC" val="-1"/>
</p:tagLst>
</file>

<file path=ppt/tags/tag205.xml><?xml version="1.0" encoding="utf-8"?>
<p:tagLst xmlns:a="http://schemas.openxmlformats.org/drawingml/2006/main" xmlns:r="http://schemas.openxmlformats.org/officeDocument/2006/relationships" xmlns:p="http://schemas.openxmlformats.org/presentationml/2006/main">
  <p:tag name="AGENDA_3_ASSOC" val="-1"/>
</p:tagLst>
</file>

<file path=ppt/tags/tag206.xml><?xml version="1.0" encoding="utf-8"?>
<p:tagLst xmlns:a="http://schemas.openxmlformats.org/drawingml/2006/main" xmlns:r="http://schemas.openxmlformats.org/officeDocument/2006/relationships" xmlns:p="http://schemas.openxmlformats.org/presentationml/2006/main">
  <p:tag name="AGENDA_2" val="-1"/>
</p:tagLst>
</file>

<file path=ppt/tags/tag207.xml><?xml version="1.0" encoding="utf-8"?>
<p:tagLst xmlns:a="http://schemas.openxmlformats.org/drawingml/2006/main" xmlns:r="http://schemas.openxmlformats.org/officeDocument/2006/relationships" xmlns:p="http://schemas.openxmlformats.org/presentationml/2006/main">
  <p:tag name="AGENDA_3" val="-1"/>
</p:tagLst>
</file>

<file path=ppt/tags/tag208.xml><?xml version="1.0" encoding="utf-8"?>
<p:tagLst xmlns:a="http://schemas.openxmlformats.org/drawingml/2006/main" xmlns:r="http://schemas.openxmlformats.org/officeDocument/2006/relationships" xmlns:p="http://schemas.openxmlformats.org/presentationml/2006/main">
  <p:tag name="AGENDA_2" val="-1"/>
</p:tagLst>
</file>

<file path=ppt/tags/tag209.xml><?xml version="1.0" encoding="utf-8"?>
<p:tagLst xmlns:a="http://schemas.openxmlformats.org/drawingml/2006/main" xmlns:r="http://schemas.openxmlformats.org/officeDocument/2006/relationships" xmlns:p="http://schemas.openxmlformats.org/presentationml/2006/main">
  <p:tag name="AGENDA_2" val="-1"/>
</p:tagLst>
</file>

<file path=ppt/tags/tag21.xml><?xml version="1.0" encoding="utf-8"?>
<p:tagLst xmlns:a="http://schemas.openxmlformats.org/drawingml/2006/main" xmlns:r="http://schemas.openxmlformats.org/officeDocument/2006/relationships" xmlns:p="http://schemas.openxmlformats.org/presentationml/2006/main">
  <p:tag name="AGENDA_2" val="-1"/>
</p:tagLst>
</file>

<file path=ppt/tags/tag210.xml><?xml version="1.0" encoding="utf-8"?>
<p:tagLst xmlns:a="http://schemas.openxmlformats.org/drawingml/2006/main" xmlns:r="http://schemas.openxmlformats.org/officeDocument/2006/relationships" xmlns:p="http://schemas.openxmlformats.org/presentationml/2006/main">
  <p:tag name="AGENDA_2" val="-1"/>
</p:tagLst>
</file>

<file path=ppt/tags/tag211.xml><?xml version="1.0" encoding="utf-8"?>
<p:tagLst xmlns:a="http://schemas.openxmlformats.org/drawingml/2006/main" xmlns:r="http://schemas.openxmlformats.org/officeDocument/2006/relationships" xmlns:p="http://schemas.openxmlformats.org/presentationml/2006/main">
  <p:tag name="AGENDA_2" val="-1"/>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XSKYYwEZTWy9EKQb3PMG0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GENDA_1_ASSOC" val="-1"/>
</p:tagLst>
</file>

<file path=ppt/tags/tag217.xml><?xml version="1.0" encoding="utf-8"?>
<p:tagLst xmlns:a="http://schemas.openxmlformats.org/drawingml/2006/main" xmlns:r="http://schemas.openxmlformats.org/officeDocument/2006/relationships" xmlns:p="http://schemas.openxmlformats.org/presentationml/2006/main">
  <p:tag name="AGENDA_2_ASSOC" val="-1"/>
</p:tagLst>
</file>

<file path=ppt/tags/tag218.xml><?xml version="1.0" encoding="utf-8"?>
<p:tagLst xmlns:a="http://schemas.openxmlformats.org/drawingml/2006/main" xmlns:r="http://schemas.openxmlformats.org/officeDocument/2006/relationships" xmlns:p="http://schemas.openxmlformats.org/presentationml/2006/main">
  <p:tag name="AGENDA_3_ASSOC" val="-1"/>
</p:tagLst>
</file>

<file path=ppt/tags/tag219.xml><?xml version="1.0" encoding="utf-8"?>
<p:tagLst xmlns:a="http://schemas.openxmlformats.org/drawingml/2006/main" xmlns:r="http://schemas.openxmlformats.org/officeDocument/2006/relationships" xmlns:p="http://schemas.openxmlformats.org/presentationml/2006/main">
  <p:tag name="AGENDA_2" val="-1"/>
</p:tagLst>
</file>

<file path=ppt/tags/tag22.xml><?xml version="1.0" encoding="utf-8"?>
<p:tagLst xmlns:a="http://schemas.openxmlformats.org/drawingml/2006/main" xmlns:r="http://schemas.openxmlformats.org/officeDocument/2006/relationships" xmlns:p="http://schemas.openxmlformats.org/presentationml/2006/main">
  <p:tag name="AGENDA_2" val="-1"/>
</p:tagLst>
</file>

<file path=ppt/tags/tag220.xml><?xml version="1.0" encoding="utf-8"?>
<p:tagLst xmlns:a="http://schemas.openxmlformats.org/drawingml/2006/main" xmlns:r="http://schemas.openxmlformats.org/officeDocument/2006/relationships" xmlns:p="http://schemas.openxmlformats.org/presentationml/2006/main">
  <p:tag name="AGENDA_3" val="-1"/>
</p:tagLst>
</file>

<file path=ppt/tags/tag221.xml><?xml version="1.0" encoding="utf-8"?>
<p:tagLst xmlns:a="http://schemas.openxmlformats.org/drawingml/2006/main" xmlns:r="http://schemas.openxmlformats.org/officeDocument/2006/relationships" xmlns:p="http://schemas.openxmlformats.org/presentationml/2006/main">
  <p:tag name="AGENDA_1" val="-1"/>
</p:tagLst>
</file>

<file path=ppt/tags/tag222.xml><?xml version="1.0" encoding="utf-8"?>
<p:tagLst xmlns:a="http://schemas.openxmlformats.org/drawingml/2006/main" xmlns:r="http://schemas.openxmlformats.org/officeDocument/2006/relationships" xmlns:p="http://schemas.openxmlformats.org/presentationml/2006/main">
  <p:tag name="AGENDA_1_ASSOC" val="-1"/>
</p:tagLst>
</file>

<file path=ppt/tags/tag223.xml><?xml version="1.0" encoding="utf-8"?>
<p:tagLst xmlns:a="http://schemas.openxmlformats.org/drawingml/2006/main" xmlns:r="http://schemas.openxmlformats.org/officeDocument/2006/relationships" xmlns:p="http://schemas.openxmlformats.org/presentationml/2006/main">
  <p:tag name="AGENDA_2_ASSOC" val="-1"/>
</p:tagLst>
</file>

<file path=ppt/tags/tag224.xml><?xml version="1.0" encoding="utf-8"?>
<p:tagLst xmlns:a="http://schemas.openxmlformats.org/drawingml/2006/main" xmlns:r="http://schemas.openxmlformats.org/officeDocument/2006/relationships" xmlns:p="http://schemas.openxmlformats.org/presentationml/2006/main">
  <p:tag name="AGENDA_3_ASSOC" val="-1"/>
</p:tagLst>
</file>

<file path=ppt/tags/tag225.xml><?xml version="1.0" encoding="utf-8"?>
<p:tagLst xmlns:a="http://schemas.openxmlformats.org/drawingml/2006/main" xmlns:r="http://schemas.openxmlformats.org/officeDocument/2006/relationships" xmlns:p="http://schemas.openxmlformats.org/presentationml/2006/main">
  <p:tag name="AGENDA_2" val="-1"/>
</p:tagLst>
</file>

<file path=ppt/tags/tag226.xml><?xml version="1.0" encoding="utf-8"?>
<p:tagLst xmlns:a="http://schemas.openxmlformats.org/drawingml/2006/main" xmlns:r="http://schemas.openxmlformats.org/officeDocument/2006/relationships" xmlns:p="http://schemas.openxmlformats.org/presentationml/2006/main">
  <p:tag name="AGENDA_3" val="-1"/>
</p:tagLst>
</file>

<file path=ppt/tags/tag227.xml><?xml version="1.0" encoding="utf-8"?>
<p:tagLst xmlns:a="http://schemas.openxmlformats.org/drawingml/2006/main" xmlns:r="http://schemas.openxmlformats.org/officeDocument/2006/relationships" xmlns:p="http://schemas.openxmlformats.org/presentationml/2006/main">
  <p:tag name="AGENDA_1" val="-1"/>
</p:tagLst>
</file>

<file path=ppt/tags/tag228.xml><?xml version="1.0" encoding="utf-8"?>
<p:tagLst xmlns:a="http://schemas.openxmlformats.org/drawingml/2006/main" xmlns:r="http://schemas.openxmlformats.org/officeDocument/2006/relationships" xmlns:p="http://schemas.openxmlformats.org/presentationml/2006/main">
  <p:tag name="AGENDA_2_ASSOC" val="-1"/>
</p:tagLst>
</file>

<file path=ppt/tags/tag229.xml><?xml version="1.0" encoding="utf-8"?>
<p:tagLst xmlns:a="http://schemas.openxmlformats.org/drawingml/2006/main" xmlns:r="http://schemas.openxmlformats.org/officeDocument/2006/relationships" xmlns:p="http://schemas.openxmlformats.org/presentationml/2006/main">
  <p:tag name="AGENDA_3_ASSOC"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AGENDA_2" val="-1"/>
</p:tagLst>
</file>

<file path=ppt/tags/tag231.xml><?xml version="1.0" encoding="utf-8"?>
<p:tagLst xmlns:a="http://schemas.openxmlformats.org/drawingml/2006/main" xmlns:r="http://schemas.openxmlformats.org/officeDocument/2006/relationships" xmlns:p="http://schemas.openxmlformats.org/presentationml/2006/main">
  <p:tag name="AGENDA_3" val="-1"/>
</p:tagLst>
</file>

<file path=ppt/tags/tag232.xml><?xml version="1.0" encoding="utf-8"?>
<p:tagLst xmlns:a="http://schemas.openxmlformats.org/drawingml/2006/main" xmlns:r="http://schemas.openxmlformats.org/officeDocument/2006/relationships" xmlns:p="http://schemas.openxmlformats.org/presentationml/2006/main">
  <p:tag name="AGENDA_2" val="-1"/>
</p:tagLst>
</file>

<file path=ppt/tags/tag233.xml><?xml version="1.0" encoding="utf-8"?>
<p:tagLst xmlns:a="http://schemas.openxmlformats.org/drawingml/2006/main" xmlns:r="http://schemas.openxmlformats.org/officeDocument/2006/relationships" xmlns:p="http://schemas.openxmlformats.org/presentationml/2006/main">
  <p:tag name="AGENDA_2" val="-1"/>
</p:tagLst>
</file>

<file path=ppt/tags/tag234.xml><?xml version="1.0" encoding="utf-8"?>
<p:tagLst xmlns:a="http://schemas.openxmlformats.org/drawingml/2006/main" xmlns:r="http://schemas.openxmlformats.org/officeDocument/2006/relationships" xmlns:p="http://schemas.openxmlformats.org/presentationml/2006/main">
  <p:tag name="AGENDA_2" val="-1"/>
</p:tagLst>
</file>

<file path=ppt/tags/tag235.xml><?xml version="1.0" encoding="utf-8"?>
<p:tagLst xmlns:a="http://schemas.openxmlformats.org/drawingml/2006/main" xmlns:r="http://schemas.openxmlformats.org/officeDocument/2006/relationships" xmlns:p="http://schemas.openxmlformats.org/presentationml/2006/main">
  <p:tag name="AGENDA_2" val="-1"/>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fC89gN3IS26UuZM6kLUq6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SKYYwEZTWy9EKQb3PMG0g"/>
</p:tagLst>
</file>

<file path=ppt/tags/tag24.xml><?xml version="1.0" encoding="utf-8"?>
<p:tagLst xmlns:a="http://schemas.openxmlformats.org/drawingml/2006/main" xmlns:r="http://schemas.openxmlformats.org/officeDocument/2006/relationships" xmlns:p="http://schemas.openxmlformats.org/presentationml/2006/main">
  <p:tag name="AGENDA_1_ASSOC" val="-1"/>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AGENDA_1_ASSOC" val="-1"/>
</p:tagLst>
</file>

<file path=ppt/tags/tag242.xml><?xml version="1.0" encoding="utf-8"?>
<p:tagLst xmlns:a="http://schemas.openxmlformats.org/drawingml/2006/main" xmlns:r="http://schemas.openxmlformats.org/officeDocument/2006/relationships" xmlns:p="http://schemas.openxmlformats.org/presentationml/2006/main">
  <p:tag name="AGENDA_2_ASSOC" val="-1"/>
</p:tagLst>
</file>

<file path=ppt/tags/tag243.xml><?xml version="1.0" encoding="utf-8"?>
<p:tagLst xmlns:a="http://schemas.openxmlformats.org/drawingml/2006/main" xmlns:r="http://schemas.openxmlformats.org/officeDocument/2006/relationships" xmlns:p="http://schemas.openxmlformats.org/presentationml/2006/main">
  <p:tag name="AGENDA_3_ASSOC" val="-1"/>
</p:tagLst>
</file>

<file path=ppt/tags/tag244.xml><?xml version="1.0" encoding="utf-8"?>
<p:tagLst xmlns:a="http://schemas.openxmlformats.org/drawingml/2006/main" xmlns:r="http://schemas.openxmlformats.org/officeDocument/2006/relationships" xmlns:p="http://schemas.openxmlformats.org/presentationml/2006/main">
  <p:tag name="AGENDA_2" val="-1"/>
</p:tagLst>
</file>

<file path=ppt/tags/tag245.xml><?xml version="1.0" encoding="utf-8"?>
<p:tagLst xmlns:a="http://schemas.openxmlformats.org/drawingml/2006/main" xmlns:r="http://schemas.openxmlformats.org/officeDocument/2006/relationships" xmlns:p="http://schemas.openxmlformats.org/presentationml/2006/main">
  <p:tag name="AGENDA_3" val="-1"/>
</p:tagLst>
</file>

<file path=ppt/tags/tag246.xml><?xml version="1.0" encoding="utf-8"?>
<p:tagLst xmlns:a="http://schemas.openxmlformats.org/drawingml/2006/main" xmlns:r="http://schemas.openxmlformats.org/officeDocument/2006/relationships" xmlns:p="http://schemas.openxmlformats.org/presentationml/2006/main">
  <p:tag name="AGENDA_1" val="-1"/>
</p:tagLst>
</file>

<file path=ppt/tags/tag247.xml><?xml version="1.0" encoding="utf-8"?>
<p:tagLst xmlns:a="http://schemas.openxmlformats.org/drawingml/2006/main" xmlns:r="http://schemas.openxmlformats.org/officeDocument/2006/relationships" xmlns:p="http://schemas.openxmlformats.org/presentationml/2006/main">
  <p:tag name="AGENDA_1_ASSOC" val="-1"/>
</p:tagLst>
</file>

<file path=ppt/tags/tag248.xml><?xml version="1.0" encoding="utf-8"?>
<p:tagLst xmlns:a="http://schemas.openxmlformats.org/drawingml/2006/main" xmlns:r="http://schemas.openxmlformats.org/officeDocument/2006/relationships" xmlns:p="http://schemas.openxmlformats.org/presentationml/2006/main">
  <p:tag name="AGENDA_2_ASSOC" val="-1"/>
</p:tagLst>
</file>

<file path=ppt/tags/tag249.xml><?xml version="1.0" encoding="utf-8"?>
<p:tagLst xmlns:a="http://schemas.openxmlformats.org/drawingml/2006/main" xmlns:r="http://schemas.openxmlformats.org/officeDocument/2006/relationships" xmlns:p="http://schemas.openxmlformats.org/presentationml/2006/main">
  <p:tag name="AGENDA_3_ASSOC" val="-1"/>
</p:tagLst>
</file>

<file path=ppt/tags/tag25.xml><?xml version="1.0" encoding="utf-8"?>
<p:tagLst xmlns:a="http://schemas.openxmlformats.org/drawingml/2006/main" xmlns:r="http://schemas.openxmlformats.org/officeDocument/2006/relationships" xmlns:p="http://schemas.openxmlformats.org/presentationml/2006/main">
  <p:tag name="AGENDA_2_ASSOC" val="-1"/>
</p:tagLst>
</file>

<file path=ppt/tags/tag250.xml><?xml version="1.0" encoding="utf-8"?>
<p:tagLst xmlns:a="http://schemas.openxmlformats.org/drawingml/2006/main" xmlns:r="http://schemas.openxmlformats.org/officeDocument/2006/relationships" xmlns:p="http://schemas.openxmlformats.org/presentationml/2006/main">
  <p:tag name="AGENDA_2" val="-1"/>
</p:tagLst>
</file>

<file path=ppt/tags/tag251.xml><?xml version="1.0" encoding="utf-8"?>
<p:tagLst xmlns:a="http://schemas.openxmlformats.org/drawingml/2006/main" xmlns:r="http://schemas.openxmlformats.org/officeDocument/2006/relationships" xmlns:p="http://schemas.openxmlformats.org/presentationml/2006/main">
  <p:tag name="AGENDA_3" val="-1"/>
</p:tagLst>
</file>

<file path=ppt/tags/tag252.xml><?xml version="1.0" encoding="utf-8"?>
<p:tagLst xmlns:a="http://schemas.openxmlformats.org/drawingml/2006/main" xmlns:r="http://schemas.openxmlformats.org/officeDocument/2006/relationships" xmlns:p="http://schemas.openxmlformats.org/presentationml/2006/main">
  <p:tag name="AGENDA_1" val="-1"/>
</p:tagLst>
</file>

<file path=ppt/tags/tag253.xml><?xml version="1.0" encoding="utf-8"?>
<p:tagLst xmlns:a="http://schemas.openxmlformats.org/drawingml/2006/main" xmlns:r="http://schemas.openxmlformats.org/officeDocument/2006/relationships" xmlns:p="http://schemas.openxmlformats.org/presentationml/2006/main">
  <p:tag name="AGENDA_2_ASSOC" val="-1"/>
</p:tagLst>
</file>

<file path=ppt/tags/tag254.xml><?xml version="1.0" encoding="utf-8"?>
<p:tagLst xmlns:a="http://schemas.openxmlformats.org/drawingml/2006/main" xmlns:r="http://schemas.openxmlformats.org/officeDocument/2006/relationships" xmlns:p="http://schemas.openxmlformats.org/presentationml/2006/main">
  <p:tag name="AGENDA_3_ASSOC" val="-1"/>
</p:tagLst>
</file>

<file path=ppt/tags/tag255.xml><?xml version="1.0" encoding="utf-8"?>
<p:tagLst xmlns:a="http://schemas.openxmlformats.org/drawingml/2006/main" xmlns:r="http://schemas.openxmlformats.org/officeDocument/2006/relationships" xmlns:p="http://schemas.openxmlformats.org/presentationml/2006/main">
  <p:tag name="AGENDA_2" val="-1"/>
</p:tagLst>
</file>

<file path=ppt/tags/tag256.xml><?xml version="1.0" encoding="utf-8"?>
<p:tagLst xmlns:a="http://schemas.openxmlformats.org/drawingml/2006/main" xmlns:r="http://schemas.openxmlformats.org/officeDocument/2006/relationships" xmlns:p="http://schemas.openxmlformats.org/presentationml/2006/main">
  <p:tag name="AGENDA_3" val="-1"/>
</p:tagLst>
</file>

<file path=ppt/tags/tag257.xml><?xml version="1.0" encoding="utf-8"?>
<p:tagLst xmlns:a="http://schemas.openxmlformats.org/drawingml/2006/main" xmlns:r="http://schemas.openxmlformats.org/officeDocument/2006/relationships" xmlns:p="http://schemas.openxmlformats.org/presentationml/2006/main">
  <p:tag name="AGENDA_2" val="-1"/>
</p:tagLst>
</file>

<file path=ppt/tags/tag258.xml><?xml version="1.0" encoding="utf-8"?>
<p:tagLst xmlns:a="http://schemas.openxmlformats.org/drawingml/2006/main" xmlns:r="http://schemas.openxmlformats.org/officeDocument/2006/relationships" xmlns:p="http://schemas.openxmlformats.org/presentationml/2006/main">
  <p:tag name="AGENDA_2" val="-1"/>
</p:tagLst>
</file>

<file path=ppt/tags/tag259.xml><?xml version="1.0" encoding="utf-8"?>
<p:tagLst xmlns:a="http://schemas.openxmlformats.org/drawingml/2006/main" xmlns:r="http://schemas.openxmlformats.org/officeDocument/2006/relationships" xmlns:p="http://schemas.openxmlformats.org/presentationml/2006/main">
  <p:tag name="AGENDA_2" val="-1"/>
</p:tagLst>
</file>

<file path=ppt/tags/tag26.xml><?xml version="1.0" encoding="utf-8"?>
<p:tagLst xmlns:a="http://schemas.openxmlformats.org/drawingml/2006/main" xmlns:r="http://schemas.openxmlformats.org/officeDocument/2006/relationships" xmlns:p="http://schemas.openxmlformats.org/presentationml/2006/main">
  <p:tag name="AGENDA_3_ASSOC" val="-1"/>
</p:tagLst>
</file>

<file path=ppt/tags/tag260.xml><?xml version="1.0" encoding="utf-8"?>
<p:tagLst xmlns:a="http://schemas.openxmlformats.org/drawingml/2006/main" xmlns:r="http://schemas.openxmlformats.org/officeDocument/2006/relationships" xmlns:p="http://schemas.openxmlformats.org/presentationml/2006/main">
  <p:tag name="AGENDA_2" val="-1"/>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fC89gN3IS26UuZM6kLUq6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AGENDA_1_ASSOC" val="-1"/>
</p:tagLst>
</file>

<file path=ppt/tags/tag265.xml><?xml version="1.0" encoding="utf-8"?>
<p:tagLst xmlns:a="http://schemas.openxmlformats.org/drawingml/2006/main" xmlns:r="http://schemas.openxmlformats.org/officeDocument/2006/relationships" xmlns:p="http://schemas.openxmlformats.org/presentationml/2006/main">
  <p:tag name="AGENDA_2_ASSOC" val="-1"/>
</p:tagLst>
</file>

<file path=ppt/tags/tag266.xml><?xml version="1.0" encoding="utf-8"?>
<p:tagLst xmlns:a="http://schemas.openxmlformats.org/drawingml/2006/main" xmlns:r="http://schemas.openxmlformats.org/officeDocument/2006/relationships" xmlns:p="http://schemas.openxmlformats.org/presentationml/2006/main">
  <p:tag name="AGENDA_3_ASSOC" val="-1"/>
</p:tagLst>
</file>

<file path=ppt/tags/tag267.xml><?xml version="1.0" encoding="utf-8"?>
<p:tagLst xmlns:a="http://schemas.openxmlformats.org/drawingml/2006/main" xmlns:r="http://schemas.openxmlformats.org/officeDocument/2006/relationships" xmlns:p="http://schemas.openxmlformats.org/presentationml/2006/main">
  <p:tag name="AGENDA_2" val="-1"/>
</p:tagLst>
</file>

<file path=ppt/tags/tag268.xml><?xml version="1.0" encoding="utf-8"?>
<p:tagLst xmlns:a="http://schemas.openxmlformats.org/drawingml/2006/main" xmlns:r="http://schemas.openxmlformats.org/officeDocument/2006/relationships" xmlns:p="http://schemas.openxmlformats.org/presentationml/2006/main">
  <p:tag name="AGENDA_3" val="-1"/>
</p:tagLst>
</file>

<file path=ppt/tags/tag269.xml><?xml version="1.0" encoding="utf-8"?>
<p:tagLst xmlns:a="http://schemas.openxmlformats.org/drawingml/2006/main" xmlns:r="http://schemas.openxmlformats.org/officeDocument/2006/relationships" xmlns:p="http://schemas.openxmlformats.org/presentationml/2006/main">
  <p:tag name="AGENDA_1" val="-1"/>
</p:tagLst>
</file>

<file path=ppt/tags/tag27.xml><?xml version="1.0" encoding="utf-8"?>
<p:tagLst xmlns:a="http://schemas.openxmlformats.org/drawingml/2006/main" xmlns:r="http://schemas.openxmlformats.org/officeDocument/2006/relationships" xmlns:p="http://schemas.openxmlformats.org/presentationml/2006/main">
  <p:tag name="AGENDA_2" val="-1"/>
</p:tagLst>
</file>

<file path=ppt/tags/tag270.xml><?xml version="1.0" encoding="utf-8"?>
<p:tagLst xmlns:a="http://schemas.openxmlformats.org/drawingml/2006/main" xmlns:r="http://schemas.openxmlformats.org/officeDocument/2006/relationships" xmlns:p="http://schemas.openxmlformats.org/presentationml/2006/main">
  <p:tag name="AGENDA_1_ASSOC" val="-1"/>
</p:tagLst>
</file>

<file path=ppt/tags/tag271.xml><?xml version="1.0" encoding="utf-8"?>
<p:tagLst xmlns:a="http://schemas.openxmlformats.org/drawingml/2006/main" xmlns:r="http://schemas.openxmlformats.org/officeDocument/2006/relationships" xmlns:p="http://schemas.openxmlformats.org/presentationml/2006/main">
  <p:tag name="AGENDA_2_ASSOC" val="-1"/>
</p:tagLst>
</file>

<file path=ppt/tags/tag272.xml><?xml version="1.0" encoding="utf-8"?>
<p:tagLst xmlns:a="http://schemas.openxmlformats.org/drawingml/2006/main" xmlns:r="http://schemas.openxmlformats.org/officeDocument/2006/relationships" xmlns:p="http://schemas.openxmlformats.org/presentationml/2006/main">
  <p:tag name="AGENDA_3_ASSOC" val="-1"/>
</p:tagLst>
</file>

<file path=ppt/tags/tag273.xml><?xml version="1.0" encoding="utf-8"?>
<p:tagLst xmlns:a="http://schemas.openxmlformats.org/drawingml/2006/main" xmlns:r="http://schemas.openxmlformats.org/officeDocument/2006/relationships" xmlns:p="http://schemas.openxmlformats.org/presentationml/2006/main">
  <p:tag name="AGENDA_2" val="-1"/>
</p:tagLst>
</file>

<file path=ppt/tags/tag274.xml><?xml version="1.0" encoding="utf-8"?>
<p:tagLst xmlns:a="http://schemas.openxmlformats.org/drawingml/2006/main" xmlns:r="http://schemas.openxmlformats.org/officeDocument/2006/relationships" xmlns:p="http://schemas.openxmlformats.org/presentationml/2006/main">
  <p:tag name="AGENDA_3" val="-1"/>
</p:tagLst>
</file>

<file path=ppt/tags/tag275.xml><?xml version="1.0" encoding="utf-8"?>
<p:tagLst xmlns:a="http://schemas.openxmlformats.org/drawingml/2006/main" xmlns:r="http://schemas.openxmlformats.org/officeDocument/2006/relationships" xmlns:p="http://schemas.openxmlformats.org/presentationml/2006/main">
  <p:tag name="AGENDA_1" val="-1"/>
</p:tagLst>
</file>

<file path=ppt/tags/tag276.xml><?xml version="1.0" encoding="utf-8"?>
<p:tagLst xmlns:a="http://schemas.openxmlformats.org/drawingml/2006/main" xmlns:r="http://schemas.openxmlformats.org/officeDocument/2006/relationships" xmlns:p="http://schemas.openxmlformats.org/presentationml/2006/main">
  <p:tag name="AGENDA_2_ASSOC" val="-1"/>
</p:tagLst>
</file>

<file path=ppt/tags/tag277.xml><?xml version="1.0" encoding="utf-8"?>
<p:tagLst xmlns:a="http://schemas.openxmlformats.org/drawingml/2006/main" xmlns:r="http://schemas.openxmlformats.org/officeDocument/2006/relationships" xmlns:p="http://schemas.openxmlformats.org/presentationml/2006/main">
  <p:tag name="AGENDA_3_ASSOC" val="-1"/>
</p:tagLst>
</file>

<file path=ppt/tags/tag278.xml><?xml version="1.0" encoding="utf-8"?>
<p:tagLst xmlns:a="http://schemas.openxmlformats.org/drawingml/2006/main" xmlns:r="http://schemas.openxmlformats.org/officeDocument/2006/relationships" xmlns:p="http://schemas.openxmlformats.org/presentationml/2006/main">
  <p:tag name="AGENDA_2" val="-1"/>
</p:tagLst>
</file>

<file path=ppt/tags/tag279.xml><?xml version="1.0" encoding="utf-8"?>
<p:tagLst xmlns:a="http://schemas.openxmlformats.org/drawingml/2006/main" xmlns:r="http://schemas.openxmlformats.org/officeDocument/2006/relationships" xmlns:p="http://schemas.openxmlformats.org/presentationml/2006/main">
  <p:tag name="AGENDA_3" val="-1"/>
</p:tagLst>
</file>

<file path=ppt/tags/tag28.xml><?xml version="1.0" encoding="utf-8"?>
<p:tagLst xmlns:a="http://schemas.openxmlformats.org/drawingml/2006/main" xmlns:r="http://schemas.openxmlformats.org/officeDocument/2006/relationships" xmlns:p="http://schemas.openxmlformats.org/presentationml/2006/main">
  <p:tag name="AGENDA_3" val="-1"/>
</p:tagLst>
</file>

<file path=ppt/tags/tag280.xml><?xml version="1.0" encoding="utf-8"?>
<p:tagLst xmlns:a="http://schemas.openxmlformats.org/drawingml/2006/main" xmlns:r="http://schemas.openxmlformats.org/officeDocument/2006/relationships" xmlns:p="http://schemas.openxmlformats.org/presentationml/2006/main">
  <p:tag name="AGENDA_2" val="-1"/>
</p:tagLst>
</file>

<file path=ppt/tags/tag281.xml><?xml version="1.0" encoding="utf-8"?>
<p:tagLst xmlns:a="http://schemas.openxmlformats.org/drawingml/2006/main" xmlns:r="http://schemas.openxmlformats.org/officeDocument/2006/relationships" xmlns:p="http://schemas.openxmlformats.org/presentationml/2006/main">
  <p:tag name="AGENDA_2" val="-1"/>
</p:tagLst>
</file>

<file path=ppt/tags/tag282.xml><?xml version="1.0" encoding="utf-8"?>
<p:tagLst xmlns:a="http://schemas.openxmlformats.org/drawingml/2006/main" xmlns:r="http://schemas.openxmlformats.org/officeDocument/2006/relationships" xmlns:p="http://schemas.openxmlformats.org/presentationml/2006/main">
  <p:tag name="AGENDA_2" val="-1"/>
</p:tagLst>
</file>

<file path=ppt/tags/tag283.xml><?xml version="1.0" encoding="utf-8"?>
<p:tagLst xmlns:a="http://schemas.openxmlformats.org/drawingml/2006/main" xmlns:r="http://schemas.openxmlformats.org/officeDocument/2006/relationships" xmlns:p="http://schemas.openxmlformats.org/presentationml/2006/main">
  <p:tag name="AGENDA_2" val="-1"/>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v0jOaSmOsLtD7bbG2GTtw"/>
</p:tagLst>
</file>

<file path=ppt/tags/tag287.xml><?xml version="1.0" encoding="utf-8"?>
<p:tagLst xmlns:a="http://schemas.openxmlformats.org/drawingml/2006/main" xmlns:r="http://schemas.openxmlformats.org/officeDocument/2006/relationships" xmlns:p="http://schemas.openxmlformats.org/presentationml/2006/main">
  <p:tag name="AGENDA_1_ASSOC" val="-1"/>
</p:tagLst>
</file>

<file path=ppt/tags/tag288.xml><?xml version="1.0" encoding="utf-8"?>
<p:tagLst xmlns:a="http://schemas.openxmlformats.org/drawingml/2006/main" xmlns:r="http://schemas.openxmlformats.org/officeDocument/2006/relationships" xmlns:p="http://schemas.openxmlformats.org/presentationml/2006/main">
  <p:tag name="AGENDA_2_ASSOC" val="-1"/>
</p:tagLst>
</file>

<file path=ppt/tags/tag289.xml><?xml version="1.0" encoding="utf-8"?>
<p:tagLst xmlns:a="http://schemas.openxmlformats.org/drawingml/2006/main" xmlns:r="http://schemas.openxmlformats.org/officeDocument/2006/relationships" xmlns:p="http://schemas.openxmlformats.org/presentationml/2006/main">
  <p:tag name="AGENDA_3_ASSOC" val="-1"/>
</p:tagLst>
</file>

<file path=ppt/tags/tag29.xml><?xml version="1.0" encoding="utf-8"?>
<p:tagLst xmlns:a="http://schemas.openxmlformats.org/drawingml/2006/main" xmlns:r="http://schemas.openxmlformats.org/officeDocument/2006/relationships" xmlns:p="http://schemas.openxmlformats.org/presentationml/2006/main">
  <p:tag name="AGENDA_1" val="-1"/>
</p:tagLst>
</file>

<file path=ppt/tags/tag290.xml><?xml version="1.0" encoding="utf-8"?>
<p:tagLst xmlns:a="http://schemas.openxmlformats.org/drawingml/2006/main" xmlns:r="http://schemas.openxmlformats.org/officeDocument/2006/relationships" xmlns:p="http://schemas.openxmlformats.org/presentationml/2006/main">
  <p:tag name="AGENDA_2" val="-1"/>
</p:tagLst>
</file>

<file path=ppt/tags/tag291.xml><?xml version="1.0" encoding="utf-8"?>
<p:tagLst xmlns:a="http://schemas.openxmlformats.org/drawingml/2006/main" xmlns:r="http://schemas.openxmlformats.org/officeDocument/2006/relationships" xmlns:p="http://schemas.openxmlformats.org/presentationml/2006/main">
  <p:tag name="AGENDA_3" val="-1"/>
</p:tagLst>
</file>

<file path=ppt/tags/tag292.xml><?xml version="1.0" encoding="utf-8"?>
<p:tagLst xmlns:a="http://schemas.openxmlformats.org/drawingml/2006/main" xmlns:r="http://schemas.openxmlformats.org/officeDocument/2006/relationships" xmlns:p="http://schemas.openxmlformats.org/presentationml/2006/main">
  <p:tag name="AGENDA_1" val="-1"/>
</p:tagLst>
</file>

<file path=ppt/tags/tag293.xml><?xml version="1.0" encoding="utf-8"?>
<p:tagLst xmlns:a="http://schemas.openxmlformats.org/drawingml/2006/main" xmlns:r="http://schemas.openxmlformats.org/officeDocument/2006/relationships" xmlns:p="http://schemas.openxmlformats.org/presentationml/2006/main">
  <p:tag name="AGENDA_1_ASSOC" val="-1"/>
</p:tagLst>
</file>

<file path=ppt/tags/tag294.xml><?xml version="1.0" encoding="utf-8"?>
<p:tagLst xmlns:a="http://schemas.openxmlformats.org/drawingml/2006/main" xmlns:r="http://schemas.openxmlformats.org/officeDocument/2006/relationships" xmlns:p="http://schemas.openxmlformats.org/presentationml/2006/main">
  <p:tag name="AGENDA_2_ASSOC" val="-1"/>
</p:tagLst>
</file>

<file path=ppt/tags/tag295.xml><?xml version="1.0" encoding="utf-8"?>
<p:tagLst xmlns:a="http://schemas.openxmlformats.org/drawingml/2006/main" xmlns:r="http://schemas.openxmlformats.org/officeDocument/2006/relationships" xmlns:p="http://schemas.openxmlformats.org/presentationml/2006/main">
  <p:tag name="AGENDA_3_ASSOC" val="-1"/>
</p:tagLst>
</file>

<file path=ppt/tags/tag296.xml><?xml version="1.0" encoding="utf-8"?>
<p:tagLst xmlns:a="http://schemas.openxmlformats.org/drawingml/2006/main" xmlns:r="http://schemas.openxmlformats.org/officeDocument/2006/relationships" xmlns:p="http://schemas.openxmlformats.org/presentationml/2006/main">
  <p:tag name="AGENDA_2" val="-1"/>
</p:tagLst>
</file>

<file path=ppt/tags/tag297.xml><?xml version="1.0" encoding="utf-8"?>
<p:tagLst xmlns:a="http://schemas.openxmlformats.org/drawingml/2006/main" xmlns:r="http://schemas.openxmlformats.org/officeDocument/2006/relationships" xmlns:p="http://schemas.openxmlformats.org/presentationml/2006/main">
  <p:tag name="AGENDA_3" val="-1"/>
</p:tagLst>
</file>

<file path=ppt/tags/tag298.xml><?xml version="1.0" encoding="utf-8"?>
<p:tagLst xmlns:a="http://schemas.openxmlformats.org/drawingml/2006/main" xmlns:r="http://schemas.openxmlformats.org/officeDocument/2006/relationships" xmlns:p="http://schemas.openxmlformats.org/presentationml/2006/main">
  <p:tag name="AGENDA_1" val="-1"/>
</p:tagLst>
</file>

<file path=ppt/tags/tag299.xml><?xml version="1.0" encoding="utf-8"?>
<p:tagLst xmlns:a="http://schemas.openxmlformats.org/drawingml/2006/main" xmlns:r="http://schemas.openxmlformats.org/officeDocument/2006/relationships" xmlns:p="http://schemas.openxmlformats.org/presentationml/2006/main">
  <p:tag name="AGENDA_2_ASSOC" val="-1"/>
</p:tagLst>
</file>

<file path=ppt/tags/tag3.xml><?xml version="1.0" encoding="utf-8"?>
<p:tagLst xmlns:a="http://schemas.openxmlformats.org/drawingml/2006/main" xmlns:r="http://schemas.openxmlformats.org/officeDocument/2006/relationships" xmlns:p="http://schemas.openxmlformats.org/presentationml/2006/main">
  <p:tag name="AGENDA_1_ASSOC" val="-1"/>
</p:tagLst>
</file>

<file path=ppt/tags/tag30.xml><?xml version="1.0" encoding="utf-8"?>
<p:tagLst xmlns:a="http://schemas.openxmlformats.org/drawingml/2006/main" xmlns:r="http://schemas.openxmlformats.org/officeDocument/2006/relationships" xmlns:p="http://schemas.openxmlformats.org/presentationml/2006/main">
  <p:tag name="AGENDA_1_ASSOC" val="-1"/>
</p:tagLst>
</file>

<file path=ppt/tags/tag300.xml><?xml version="1.0" encoding="utf-8"?>
<p:tagLst xmlns:a="http://schemas.openxmlformats.org/drawingml/2006/main" xmlns:r="http://schemas.openxmlformats.org/officeDocument/2006/relationships" xmlns:p="http://schemas.openxmlformats.org/presentationml/2006/main">
  <p:tag name="AGENDA_3_ASSOC" val="-1"/>
</p:tagLst>
</file>

<file path=ppt/tags/tag301.xml><?xml version="1.0" encoding="utf-8"?>
<p:tagLst xmlns:a="http://schemas.openxmlformats.org/drawingml/2006/main" xmlns:r="http://schemas.openxmlformats.org/officeDocument/2006/relationships" xmlns:p="http://schemas.openxmlformats.org/presentationml/2006/main">
  <p:tag name="AGENDA_2" val="-1"/>
</p:tagLst>
</file>

<file path=ppt/tags/tag302.xml><?xml version="1.0" encoding="utf-8"?>
<p:tagLst xmlns:a="http://schemas.openxmlformats.org/drawingml/2006/main" xmlns:r="http://schemas.openxmlformats.org/officeDocument/2006/relationships" xmlns:p="http://schemas.openxmlformats.org/presentationml/2006/main">
  <p:tag name="AGENDA_3" val="-1"/>
</p:tagLst>
</file>

<file path=ppt/tags/tag303.xml><?xml version="1.0" encoding="utf-8"?>
<p:tagLst xmlns:a="http://schemas.openxmlformats.org/drawingml/2006/main" xmlns:r="http://schemas.openxmlformats.org/officeDocument/2006/relationships" xmlns:p="http://schemas.openxmlformats.org/presentationml/2006/main">
  <p:tag name="AGENDA_2" val="-1"/>
</p:tagLst>
</file>

<file path=ppt/tags/tag304.xml><?xml version="1.0" encoding="utf-8"?>
<p:tagLst xmlns:a="http://schemas.openxmlformats.org/drawingml/2006/main" xmlns:r="http://schemas.openxmlformats.org/officeDocument/2006/relationships" xmlns:p="http://schemas.openxmlformats.org/presentationml/2006/main">
  <p:tag name="AGENDA_2" val="-1"/>
</p:tagLst>
</file>

<file path=ppt/tags/tag305.xml><?xml version="1.0" encoding="utf-8"?>
<p:tagLst xmlns:a="http://schemas.openxmlformats.org/drawingml/2006/main" xmlns:r="http://schemas.openxmlformats.org/officeDocument/2006/relationships" xmlns:p="http://schemas.openxmlformats.org/presentationml/2006/main">
  <p:tag name="AGENDA_2" val="-1"/>
</p:tagLst>
</file>

<file path=ppt/tags/tag306.xml><?xml version="1.0" encoding="utf-8"?>
<p:tagLst xmlns:a="http://schemas.openxmlformats.org/drawingml/2006/main" xmlns:r="http://schemas.openxmlformats.org/officeDocument/2006/relationships" xmlns:p="http://schemas.openxmlformats.org/presentationml/2006/main">
  <p:tag name="AGENDA_2" val="-1"/>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AGENDA_1_ASSOC" val="-1"/>
</p:tagLst>
</file>

<file path=ppt/tags/tag309.xml><?xml version="1.0" encoding="utf-8"?>
<p:tagLst xmlns:a="http://schemas.openxmlformats.org/drawingml/2006/main" xmlns:r="http://schemas.openxmlformats.org/officeDocument/2006/relationships" xmlns:p="http://schemas.openxmlformats.org/presentationml/2006/main">
  <p:tag name="AGENDA_2_ASSOC" val="-1"/>
</p:tagLst>
</file>

<file path=ppt/tags/tag31.xml><?xml version="1.0" encoding="utf-8"?>
<p:tagLst xmlns:a="http://schemas.openxmlformats.org/drawingml/2006/main" xmlns:r="http://schemas.openxmlformats.org/officeDocument/2006/relationships" xmlns:p="http://schemas.openxmlformats.org/presentationml/2006/main">
  <p:tag name="AGENDA_2_ASSOC" val="-1"/>
</p:tagLst>
</file>

<file path=ppt/tags/tag310.xml><?xml version="1.0" encoding="utf-8"?>
<p:tagLst xmlns:a="http://schemas.openxmlformats.org/drawingml/2006/main" xmlns:r="http://schemas.openxmlformats.org/officeDocument/2006/relationships" xmlns:p="http://schemas.openxmlformats.org/presentationml/2006/main">
  <p:tag name="AGENDA_3_ASSOC" val="-1"/>
</p:tagLst>
</file>

<file path=ppt/tags/tag311.xml><?xml version="1.0" encoding="utf-8"?>
<p:tagLst xmlns:a="http://schemas.openxmlformats.org/drawingml/2006/main" xmlns:r="http://schemas.openxmlformats.org/officeDocument/2006/relationships" xmlns:p="http://schemas.openxmlformats.org/presentationml/2006/main">
  <p:tag name="AGENDA_2" val="-1"/>
</p:tagLst>
</file>

<file path=ppt/tags/tag312.xml><?xml version="1.0" encoding="utf-8"?>
<p:tagLst xmlns:a="http://schemas.openxmlformats.org/drawingml/2006/main" xmlns:r="http://schemas.openxmlformats.org/officeDocument/2006/relationships" xmlns:p="http://schemas.openxmlformats.org/presentationml/2006/main">
  <p:tag name="AGENDA_3" val="-1"/>
</p:tagLst>
</file>

<file path=ppt/tags/tag313.xml><?xml version="1.0" encoding="utf-8"?>
<p:tagLst xmlns:a="http://schemas.openxmlformats.org/drawingml/2006/main" xmlns:r="http://schemas.openxmlformats.org/officeDocument/2006/relationships" xmlns:p="http://schemas.openxmlformats.org/presentationml/2006/main">
  <p:tag name="AGENDA_1" val="-1"/>
</p:tagLst>
</file>

<file path=ppt/tags/tag314.xml><?xml version="1.0" encoding="utf-8"?>
<p:tagLst xmlns:a="http://schemas.openxmlformats.org/drawingml/2006/main" xmlns:r="http://schemas.openxmlformats.org/officeDocument/2006/relationships" xmlns:p="http://schemas.openxmlformats.org/presentationml/2006/main">
  <p:tag name="AGENDA_1_ASSOC" val="-1"/>
</p:tagLst>
</file>

<file path=ppt/tags/tag315.xml><?xml version="1.0" encoding="utf-8"?>
<p:tagLst xmlns:a="http://schemas.openxmlformats.org/drawingml/2006/main" xmlns:r="http://schemas.openxmlformats.org/officeDocument/2006/relationships" xmlns:p="http://schemas.openxmlformats.org/presentationml/2006/main">
  <p:tag name="AGENDA_2_ASSOC" val="-1"/>
</p:tagLst>
</file>

<file path=ppt/tags/tag316.xml><?xml version="1.0" encoding="utf-8"?>
<p:tagLst xmlns:a="http://schemas.openxmlformats.org/drawingml/2006/main" xmlns:r="http://schemas.openxmlformats.org/officeDocument/2006/relationships" xmlns:p="http://schemas.openxmlformats.org/presentationml/2006/main">
  <p:tag name="AGENDA_3_ASSOC" val="-1"/>
</p:tagLst>
</file>

<file path=ppt/tags/tag317.xml><?xml version="1.0" encoding="utf-8"?>
<p:tagLst xmlns:a="http://schemas.openxmlformats.org/drawingml/2006/main" xmlns:r="http://schemas.openxmlformats.org/officeDocument/2006/relationships" xmlns:p="http://schemas.openxmlformats.org/presentationml/2006/main">
  <p:tag name="AGENDA_2" val="-1"/>
</p:tagLst>
</file>

<file path=ppt/tags/tag318.xml><?xml version="1.0" encoding="utf-8"?>
<p:tagLst xmlns:a="http://schemas.openxmlformats.org/drawingml/2006/main" xmlns:r="http://schemas.openxmlformats.org/officeDocument/2006/relationships" xmlns:p="http://schemas.openxmlformats.org/presentationml/2006/main">
  <p:tag name="AGENDA_3" val="-1"/>
</p:tagLst>
</file>

<file path=ppt/tags/tag319.xml><?xml version="1.0" encoding="utf-8"?>
<p:tagLst xmlns:a="http://schemas.openxmlformats.org/drawingml/2006/main" xmlns:r="http://schemas.openxmlformats.org/officeDocument/2006/relationships" xmlns:p="http://schemas.openxmlformats.org/presentationml/2006/main">
  <p:tag name="AGENDA_1" val="-1"/>
</p:tagLst>
</file>

<file path=ppt/tags/tag32.xml><?xml version="1.0" encoding="utf-8"?>
<p:tagLst xmlns:a="http://schemas.openxmlformats.org/drawingml/2006/main" xmlns:r="http://schemas.openxmlformats.org/officeDocument/2006/relationships" xmlns:p="http://schemas.openxmlformats.org/presentationml/2006/main">
  <p:tag name="AGENDA_3_ASSOC" val="-1"/>
</p:tagLst>
</file>

<file path=ppt/tags/tag320.xml><?xml version="1.0" encoding="utf-8"?>
<p:tagLst xmlns:a="http://schemas.openxmlformats.org/drawingml/2006/main" xmlns:r="http://schemas.openxmlformats.org/officeDocument/2006/relationships" xmlns:p="http://schemas.openxmlformats.org/presentationml/2006/main">
  <p:tag name="AGENDA_2_ASSOC" val="-1"/>
</p:tagLst>
</file>

<file path=ppt/tags/tag321.xml><?xml version="1.0" encoding="utf-8"?>
<p:tagLst xmlns:a="http://schemas.openxmlformats.org/drawingml/2006/main" xmlns:r="http://schemas.openxmlformats.org/officeDocument/2006/relationships" xmlns:p="http://schemas.openxmlformats.org/presentationml/2006/main">
  <p:tag name="AGENDA_3_ASSOC" val="-1"/>
</p:tagLst>
</file>

<file path=ppt/tags/tag322.xml><?xml version="1.0" encoding="utf-8"?>
<p:tagLst xmlns:a="http://schemas.openxmlformats.org/drawingml/2006/main" xmlns:r="http://schemas.openxmlformats.org/officeDocument/2006/relationships" xmlns:p="http://schemas.openxmlformats.org/presentationml/2006/main">
  <p:tag name="AGENDA_2" val="-1"/>
</p:tagLst>
</file>

<file path=ppt/tags/tag323.xml><?xml version="1.0" encoding="utf-8"?>
<p:tagLst xmlns:a="http://schemas.openxmlformats.org/drawingml/2006/main" xmlns:r="http://schemas.openxmlformats.org/officeDocument/2006/relationships" xmlns:p="http://schemas.openxmlformats.org/presentationml/2006/main">
  <p:tag name="AGENDA_3" val="-1"/>
</p:tagLst>
</file>

<file path=ppt/tags/tag324.xml><?xml version="1.0" encoding="utf-8"?>
<p:tagLst xmlns:a="http://schemas.openxmlformats.org/drawingml/2006/main" xmlns:r="http://schemas.openxmlformats.org/officeDocument/2006/relationships" xmlns:p="http://schemas.openxmlformats.org/presentationml/2006/main">
  <p:tag name="AGENDA_2" val="-1"/>
</p:tagLst>
</file>

<file path=ppt/tags/tag325.xml><?xml version="1.0" encoding="utf-8"?>
<p:tagLst xmlns:a="http://schemas.openxmlformats.org/drawingml/2006/main" xmlns:r="http://schemas.openxmlformats.org/officeDocument/2006/relationships" xmlns:p="http://schemas.openxmlformats.org/presentationml/2006/main">
  <p:tag name="AGENDA_2" val="-1"/>
</p:tagLst>
</file>

<file path=ppt/tags/tag326.xml><?xml version="1.0" encoding="utf-8"?>
<p:tagLst xmlns:a="http://schemas.openxmlformats.org/drawingml/2006/main" xmlns:r="http://schemas.openxmlformats.org/officeDocument/2006/relationships" xmlns:p="http://schemas.openxmlformats.org/presentationml/2006/main">
  <p:tag name="AGENDA_2" val="-1"/>
</p:tagLst>
</file>

<file path=ppt/tags/tag327.xml><?xml version="1.0" encoding="utf-8"?>
<p:tagLst xmlns:a="http://schemas.openxmlformats.org/drawingml/2006/main" xmlns:r="http://schemas.openxmlformats.org/officeDocument/2006/relationships" xmlns:p="http://schemas.openxmlformats.org/presentationml/2006/main">
  <p:tag name="AGENDA_2" val="-1"/>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GENDA_2" val="-1"/>
</p:tagLst>
</file>

<file path=ppt/tags/tag330.xml><?xml version="1.0" encoding="utf-8"?>
<p:tagLst xmlns:a="http://schemas.openxmlformats.org/drawingml/2006/main" xmlns:r="http://schemas.openxmlformats.org/officeDocument/2006/relationships" xmlns:p="http://schemas.openxmlformats.org/presentationml/2006/main">
  <p:tag name="AGENDA_1_ASSOC" val="-1"/>
</p:tagLst>
</file>

<file path=ppt/tags/tag331.xml><?xml version="1.0" encoding="utf-8"?>
<p:tagLst xmlns:a="http://schemas.openxmlformats.org/drawingml/2006/main" xmlns:r="http://schemas.openxmlformats.org/officeDocument/2006/relationships" xmlns:p="http://schemas.openxmlformats.org/presentationml/2006/main">
  <p:tag name="AGENDA_2_ASSOC" val="-1"/>
</p:tagLst>
</file>

<file path=ppt/tags/tag332.xml><?xml version="1.0" encoding="utf-8"?>
<p:tagLst xmlns:a="http://schemas.openxmlformats.org/drawingml/2006/main" xmlns:r="http://schemas.openxmlformats.org/officeDocument/2006/relationships" xmlns:p="http://schemas.openxmlformats.org/presentationml/2006/main">
  <p:tag name="AGENDA_3_ASSOC" val="-1"/>
</p:tagLst>
</file>

<file path=ppt/tags/tag333.xml><?xml version="1.0" encoding="utf-8"?>
<p:tagLst xmlns:a="http://schemas.openxmlformats.org/drawingml/2006/main" xmlns:r="http://schemas.openxmlformats.org/officeDocument/2006/relationships" xmlns:p="http://schemas.openxmlformats.org/presentationml/2006/main">
  <p:tag name="AGENDA_2" val="-1"/>
</p:tagLst>
</file>

<file path=ppt/tags/tag334.xml><?xml version="1.0" encoding="utf-8"?>
<p:tagLst xmlns:a="http://schemas.openxmlformats.org/drawingml/2006/main" xmlns:r="http://schemas.openxmlformats.org/officeDocument/2006/relationships" xmlns:p="http://schemas.openxmlformats.org/presentationml/2006/main">
  <p:tag name="AGENDA_3" val="-1"/>
</p:tagLst>
</file>

<file path=ppt/tags/tag335.xml><?xml version="1.0" encoding="utf-8"?>
<p:tagLst xmlns:a="http://schemas.openxmlformats.org/drawingml/2006/main" xmlns:r="http://schemas.openxmlformats.org/officeDocument/2006/relationships" xmlns:p="http://schemas.openxmlformats.org/presentationml/2006/main">
  <p:tag name="AGENDA_1" val="-1"/>
</p:tagLst>
</file>

<file path=ppt/tags/tag336.xml><?xml version="1.0" encoding="utf-8"?>
<p:tagLst xmlns:a="http://schemas.openxmlformats.org/drawingml/2006/main" xmlns:r="http://schemas.openxmlformats.org/officeDocument/2006/relationships" xmlns:p="http://schemas.openxmlformats.org/presentationml/2006/main">
  <p:tag name="AGENDA_1_ASSOC" val="-1"/>
</p:tagLst>
</file>

<file path=ppt/tags/tag337.xml><?xml version="1.0" encoding="utf-8"?>
<p:tagLst xmlns:a="http://schemas.openxmlformats.org/drawingml/2006/main" xmlns:r="http://schemas.openxmlformats.org/officeDocument/2006/relationships" xmlns:p="http://schemas.openxmlformats.org/presentationml/2006/main">
  <p:tag name="AGENDA_2_ASSOC" val="-1"/>
</p:tagLst>
</file>

<file path=ppt/tags/tag338.xml><?xml version="1.0" encoding="utf-8"?>
<p:tagLst xmlns:a="http://schemas.openxmlformats.org/drawingml/2006/main" xmlns:r="http://schemas.openxmlformats.org/officeDocument/2006/relationships" xmlns:p="http://schemas.openxmlformats.org/presentationml/2006/main">
  <p:tag name="AGENDA_3_ASSOC" val="-1"/>
</p:tagLst>
</file>

<file path=ppt/tags/tag339.xml><?xml version="1.0" encoding="utf-8"?>
<p:tagLst xmlns:a="http://schemas.openxmlformats.org/drawingml/2006/main" xmlns:r="http://schemas.openxmlformats.org/officeDocument/2006/relationships" xmlns:p="http://schemas.openxmlformats.org/presentationml/2006/main">
  <p:tag name="AGENDA_2" val="-1"/>
</p:tagLst>
</file>

<file path=ppt/tags/tag34.xml><?xml version="1.0" encoding="utf-8"?>
<p:tagLst xmlns:a="http://schemas.openxmlformats.org/drawingml/2006/main" xmlns:r="http://schemas.openxmlformats.org/officeDocument/2006/relationships" xmlns:p="http://schemas.openxmlformats.org/presentationml/2006/main">
  <p:tag name="AGENDA_3" val="-1"/>
</p:tagLst>
</file>

<file path=ppt/tags/tag340.xml><?xml version="1.0" encoding="utf-8"?>
<p:tagLst xmlns:a="http://schemas.openxmlformats.org/drawingml/2006/main" xmlns:r="http://schemas.openxmlformats.org/officeDocument/2006/relationships" xmlns:p="http://schemas.openxmlformats.org/presentationml/2006/main">
  <p:tag name="AGENDA_3" val="-1"/>
</p:tagLst>
</file>

<file path=ppt/tags/tag341.xml><?xml version="1.0" encoding="utf-8"?>
<p:tagLst xmlns:a="http://schemas.openxmlformats.org/drawingml/2006/main" xmlns:r="http://schemas.openxmlformats.org/officeDocument/2006/relationships" xmlns:p="http://schemas.openxmlformats.org/presentationml/2006/main">
  <p:tag name="AGENDA_1" val="-1"/>
</p:tagLst>
</file>

<file path=ppt/tags/tag342.xml><?xml version="1.0" encoding="utf-8"?>
<p:tagLst xmlns:a="http://schemas.openxmlformats.org/drawingml/2006/main" xmlns:r="http://schemas.openxmlformats.org/officeDocument/2006/relationships" xmlns:p="http://schemas.openxmlformats.org/presentationml/2006/main">
  <p:tag name="AGENDA_2_ASSOC" val="-1"/>
</p:tagLst>
</file>

<file path=ppt/tags/tag343.xml><?xml version="1.0" encoding="utf-8"?>
<p:tagLst xmlns:a="http://schemas.openxmlformats.org/drawingml/2006/main" xmlns:r="http://schemas.openxmlformats.org/officeDocument/2006/relationships" xmlns:p="http://schemas.openxmlformats.org/presentationml/2006/main">
  <p:tag name="AGENDA_3_ASSOC" val="-1"/>
</p:tagLst>
</file>

<file path=ppt/tags/tag344.xml><?xml version="1.0" encoding="utf-8"?>
<p:tagLst xmlns:a="http://schemas.openxmlformats.org/drawingml/2006/main" xmlns:r="http://schemas.openxmlformats.org/officeDocument/2006/relationships" xmlns:p="http://schemas.openxmlformats.org/presentationml/2006/main">
  <p:tag name="AGENDA_2" val="-1"/>
</p:tagLst>
</file>

<file path=ppt/tags/tag345.xml><?xml version="1.0" encoding="utf-8"?>
<p:tagLst xmlns:a="http://schemas.openxmlformats.org/drawingml/2006/main" xmlns:r="http://schemas.openxmlformats.org/officeDocument/2006/relationships" xmlns:p="http://schemas.openxmlformats.org/presentationml/2006/main">
  <p:tag name="AGENDA_3" val="-1"/>
</p:tagLst>
</file>

<file path=ppt/tags/tag346.xml><?xml version="1.0" encoding="utf-8"?>
<p:tagLst xmlns:a="http://schemas.openxmlformats.org/drawingml/2006/main" xmlns:r="http://schemas.openxmlformats.org/officeDocument/2006/relationships" xmlns:p="http://schemas.openxmlformats.org/presentationml/2006/main">
  <p:tag name="AGENDA_2" val="-1"/>
</p:tagLst>
</file>

<file path=ppt/tags/tag347.xml><?xml version="1.0" encoding="utf-8"?>
<p:tagLst xmlns:a="http://schemas.openxmlformats.org/drawingml/2006/main" xmlns:r="http://schemas.openxmlformats.org/officeDocument/2006/relationships" xmlns:p="http://schemas.openxmlformats.org/presentationml/2006/main">
  <p:tag name="AGENDA_2" val="-1"/>
</p:tagLst>
</file>

<file path=ppt/tags/tag348.xml><?xml version="1.0" encoding="utf-8"?>
<p:tagLst xmlns:a="http://schemas.openxmlformats.org/drawingml/2006/main" xmlns:r="http://schemas.openxmlformats.org/officeDocument/2006/relationships" xmlns:p="http://schemas.openxmlformats.org/presentationml/2006/main">
  <p:tag name="AGENDA_2" val="-1"/>
</p:tagLst>
</file>

<file path=ppt/tags/tag349.xml><?xml version="1.0" encoding="utf-8"?>
<p:tagLst xmlns:a="http://schemas.openxmlformats.org/drawingml/2006/main" xmlns:r="http://schemas.openxmlformats.org/officeDocument/2006/relationships" xmlns:p="http://schemas.openxmlformats.org/presentationml/2006/main">
  <p:tag name="AGENDA_2" val="-1"/>
</p:tagLst>
</file>

<file path=ppt/tags/tag35.xml><?xml version="1.0" encoding="utf-8"?>
<p:tagLst xmlns:a="http://schemas.openxmlformats.org/drawingml/2006/main" xmlns:r="http://schemas.openxmlformats.org/officeDocument/2006/relationships" xmlns:p="http://schemas.openxmlformats.org/presentationml/2006/main">
  <p:tag name="AGENDA_1" val="-1"/>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ERragK8Zmh5j.d2lKXHL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AGENDA_1_ASSOC" val="-1"/>
</p:tagLst>
</file>

<file path=ppt/tags/tag356.xml><?xml version="1.0" encoding="utf-8"?>
<p:tagLst xmlns:a="http://schemas.openxmlformats.org/drawingml/2006/main" xmlns:r="http://schemas.openxmlformats.org/officeDocument/2006/relationships" xmlns:p="http://schemas.openxmlformats.org/presentationml/2006/main">
  <p:tag name="AGENDA_2_ASSOC" val="-1"/>
</p:tagLst>
</file>

<file path=ppt/tags/tag357.xml><?xml version="1.0" encoding="utf-8"?>
<p:tagLst xmlns:a="http://schemas.openxmlformats.org/drawingml/2006/main" xmlns:r="http://schemas.openxmlformats.org/officeDocument/2006/relationships" xmlns:p="http://schemas.openxmlformats.org/presentationml/2006/main">
  <p:tag name="AGENDA_3_ASSOC" val="-1"/>
</p:tagLst>
</file>

<file path=ppt/tags/tag358.xml><?xml version="1.0" encoding="utf-8"?>
<p:tagLst xmlns:a="http://schemas.openxmlformats.org/drawingml/2006/main" xmlns:r="http://schemas.openxmlformats.org/officeDocument/2006/relationships" xmlns:p="http://schemas.openxmlformats.org/presentationml/2006/main">
  <p:tag name="AGENDA_2" val="-1"/>
</p:tagLst>
</file>

<file path=ppt/tags/tag359.xml><?xml version="1.0" encoding="utf-8"?>
<p:tagLst xmlns:a="http://schemas.openxmlformats.org/drawingml/2006/main" xmlns:r="http://schemas.openxmlformats.org/officeDocument/2006/relationships" xmlns:p="http://schemas.openxmlformats.org/presentationml/2006/main">
  <p:tag name="AGENDA_3" val="-1"/>
</p:tagLst>
</file>

<file path=ppt/tags/tag36.xml><?xml version="1.0" encoding="utf-8"?>
<p:tagLst xmlns:a="http://schemas.openxmlformats.org/drawingml/2006/main" xmlns:r="http://schemas.openxmlformats.org/officeDocument/2006/relationships" xmlns:p="http://schemas.openxmlformats.org/presentationml/2006/main">
  <p:tag name="AGENDA_2_ASSOC" val="-1"/>
</p:tagLst>
</file>

<file path=ppt/tags/tag360.xml><?xml version="1.0" encoding="utf-8"?>
<p:tagLst xmlns:a="http://schemas.openxmlformats.org/drawingml/2006/main" xmlns:r="http://schemas.openxmlformats.org/officeDocument/2006/relationships" xmlns:p="http://schemas.openxmlformats.org/presentationml/2006/main">
  <p:tag name="AGENDA_1" val="-1"/>
</p:tagLst>
</file>

<file path=ppt/tags/tag361.xml><?xml version="1.0" encoding="utf-8"?>
<p:tagLst xmlns:a="http://schemas.openxmlformats.org/drawingml/2006/main" xmlns:r="http://schemas.openxmlformats.org/officeDocument/2006/relationships" xmlns:p="http://schemas.openxmlformats.org/presentationml/2006/main">
  <p:tag name="AGENDA_1_ASSOC" val="-1"/>
</p:tagLst>
</file>

<file path=ppt/tags/tag362.xml><?xml version="1.0" encoding="utf-8"?>
<p:tagLst xmlns:a="http://schemas.openxmlformats.org/drawingml/2006/main" xmlns:r="http://schemas.openxmlformats.org/officeDocument/2006/relationships" xmlns:p="http://schemas.openxmlformats.org/presentationml/2006/main">
  <p:tag name="AGENDA_2_ASSOC" val="-1"/>
</p:tagLst>
</file>

<file path=ppt/tags/tag363.xml><?xml version="1.0" encoding="utf-8"?>
<p:tagLst xmlns:a="http://schemas.openxmlformats.org/drawingml/2006/main" xmlns:r="http://schemas.openxmlformats.org/officeDocument/2006/relationships" xmlns:p="http://schemas.openxmlformats.org/presentationml/2006/main">
  <p:tag name="AGENDA_3_ASSOC" val="-1"/>
</p:tagLst>
</file>

<file path=ppt/tags/tag364.xml><?xml version="1.0" encoding="utf-8"?>
<p:tagLst xmlns:a="http://schemas.openxmlformats.org/drawingml/2006/main" xmlns:r="http://schemas.openxmlformats.org/officeDocument/2006/relationships" xmlns:p="http://schemas.openxmlformats.org/presentationml/2006/main">
  <p:tag name="AGENDA_2" val="-1"/>
</p:tagLst>
</file>

<file path=ppt/tags/tag365.xml><?xml version="1.0" encoding="utf-8"?>
<p:tagLst xmlns:a="http://schemas.openxmlformats.org/drawingml/2006/main" xmlns:r="http://schemas.openxmlformats.org/officeDocument/2006/relationships" xmlns:p="http://schemas.openxmlformats.org/presentationml/2006/main">
  <p:tag name="AGENDA_3" val="-1"/>
</p:tagLst>
</file>

<file path=ppt/tags/tag366.xml><?xml version="1.0" encoding="utf-8"?>
<p:tagLst xmlns:a="http://schemas.openxmlformats.org/drawingml/2006/main" xmlns:r="http://schemas.openxmlformats.org/officeDocument/2006/relationships" xmlns:p="http://schemas.openxmlformats.org/presentationml/2006/main">
  <p:tag name="AGENDA_1" val="-1"/>
</p:tagLst>
</file>

<file path=ppt/tags/tag367.xml><?xml version="1.0" encoding="utf-8"?>
<p:tagLst xmlns:a="http://schemas.openxmlformats.org/drawingml/2006/main" xmlns:r="http://schemas.openxmlformats.org/officeDocument/2006/relationships" xmlns:p="http://schemas.openxmlformats.org/presentationml/2006/main">
  <p:tag name="AGENDA_2_ASSOC" val="-1"/>
</p:tagLst>
</file>

<file path=ppt/tags/tag368.xml><?xml version="1.0" encoding="utf-8"?>
<p:tagLst xmlns:a="http://schemas.openxmlformats.org/drawingml/2006/main" xmlns:r="http://schemas.openxmlformats.org/officeDocument/2006/relationships" xmlns:p="http://schemas.openxmlformats.org/presentationml/2006/main">
  <p:tag name="AGENDA_3_ASSOC" val="-1"/>
</p:tagLst>
</file>

<file path=ppt/tags/tag369.xml><?xml version="1.0" encoding="utf-8"?>
<p:tagLst xmlns:a="http://schemas.openxmlformats.org/drawingml/2006/main" xmlns:r="http://schemas.openxmlformats.org/officeDocument/2006/relationships" xmlns:p="http://schemas.openxmlformats.org/presentationml/2006/main">
  <p:tag name="AGENDA_2" val="-1"/>
</p:tagLst>
</file>

<file path=ppt/tags/tag37.xml><?xml version="1.0" encoding="utf-8"?>
<p:tagLst xmlns:a="http://schemas.openxmlformats.org/drawingml/2006/main" xmlns:r="http://schemas.openxmlformats.org/officeDocument/2006/relationships" xmlns:p="http://schemas.openxmlformats.org/presentationml/2006/main">
  <p:tag name="AGENDA_3_ASSOC" val="-1"/>
</p:tagLst>
</file>

<file path=ppt/tags/tag370.xml><?xml version="1.0" encoding="utf-8"?>
<p:tagLst xmlns:a="http://schemas.openxmlformats.org/drawingml/2006/main" xmlns:r="http://schemas.openxmlformats.org/officeDocument/2006/relationships" xmlns:p="http://schemas.openxmlformats.org/presentationml/2006/main">
  <p:tag name="AGENDA_3" val="-1"/>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AGENDA_2" val="-1"/>
</p:tagLst>
</file>

<file path=ppt/tags/tag375.xml><?xml version="1.0" encoding="utf-8"?>
<p:tagLst xmlns:a="http://schemas.openxmlformats.org/drawingml/2006/main" xmlns:r="http://schemas.openxmlformats.org/officeDocument/2006/relationships" xmlns:p="http://schemas.openxmlformats.org/presentationml/2006/main">
  <p:tag name="AGENDA_2" val="-1"/>
</p:tagLst>
</file>

<file path=ppt/tags/tag376.xml><?xml version="1.0" encoding="utf-8"?>
<p:tagLst xmlns:a="http://schemas.openxmlformats.org/drawingml/2006/main" xmlns:r="http://schemas.openxmlformats.org/officeDocument/2006/relationships" xmlns:p="http://schemas.openxmlformats.org/presentationml/2006/main">
  <p:tag name="AGENDA_2" val="-1"/>
</p:tagLst>
</file>

<file path=ppt/tags/tag377.xml><?xml version="1.0" encoding="utf-8"?>
<p:tagLst xmlns:a="http://schemas.openxmlformats.org/drawingml/2006/main" xmlns:r="http://schemas.openxmlformats.org/officeDocument/2006/relationships" xmlns:p="http://schemas.openxmlformats.org/presentationml/2006/main">
  <p:tag name="AGENDA_2" val="-1"/>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GENDA_2" val="-1"/>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AGENDA_1_ASSOC" val="-1"/>
</p:tagLst>
</file>

<file path=ppt/tags/tag389.xml><?xml version="1.0" encoding="utf-8"?>
<p:tagLst xmlns:a="http://schemas.openxmlformats.org/drawingml/2006/main" xmlns:r="http://schemas.openxmlformats.org/officeDocument/2006/relationships" xmlns:p="http://schemas.openxmlformats.org/presentationml/2006/main">
  <p:tag name="AGENDA_2_ASSOC" val="-1"/>
</p:tagLst>
</file>

<file path=ppt/tags/tag39.xml><?xml version="1.0" encoding="utf-8"?>
<p:tagLst xmlns:a="http://schemas.openxmlformats.org/drawingml/2006/main" xmlns:r="http://schemas.openxmlformats.org/officeDocument/2006/relationships" xmlns:p="http://schemas.openxmlformats.org/presentationml/2006/main">
  <p:tag name="AGENDA_3" val="-1"/>
</p:tagLst>
</file>

<file path=ppt/tags/tag390.xml><?xml version="1.0" encoding="utf-8"?>
<p:tagLst xmlns:a="http://schemas.openxmlformats.org/drawingml/2006/main" xmlns:r="http://schemas.openxmlformats.org/officeDocument/2006/relationships" xmlns:p="http://schemas.openxmlformats.org/presentationml/2006/main">
  <p:tag name="AGENDA_3_ASSOC" val="-1"/>
</p:tagLst>
</file>

<file path=ppt/tags/tag391.xml><?xml version="1.0" encoding="utf-8"?>
<p:tagLst xmlns:a="http://schemas.openxmlformats.org/drawingml/2006/main" xmlns:r="http://schemas.openxmlformats.org/officeDocument/2006/relationships" xmlns:p="http://schemas.openxmlformats.org/presentationml/2006/main">
  <p:tag name="AGENDA_2" val="-1"/>
</p:tagLst>
</file>

<file path=ppt/tags/tag392.xml><?xml version="1.0" encoding="utf-8"?>
<p:tagLst xmlns:a="http://schemas.openxmlformats.org/drawingml/2006/main" xmlns:r="http://schemas.openxmlformats.org/officeDocument/2006/relationships" xmlns:p="http://schemas.openxmlformats.org/presentationml/2006/main">
  <p:tag name="AGENDA_3" val="-1"/>
</p:tagLst>
</file>

<file path=ppt/tags/tag393.xml><?xml version="1.0" encoding="utf-8"?>
<p:tagLst xmlns:a="http://schemas.openxmlformats.org/drawingml/2006/main" xmlns:r="http://schemas.openxmlformats.org/officeDocument/2006/relationships" xmlns:p="http://schemas.openxmlformats.org/presentationml/2006/main">
  <p:tag name="AGENDA_1" val="-1"/>
</p:tagLst>
</file>

<file path=ppt/tags/tag394.xml><?xml version="1.0" encoding="utf-8"?>
<p:tagLst xmlns:a="http://schemas.openxmlformats.org/drawingml/2006/main" xmlns:r="http://schemas.openxmlformats.org/officeDocument/2006/relationships" xmlns:p="http://schemas.openxmlformats.org/presentationml/2006/main">
  <p:tag name="AGENDA_1_ASSOC" val="-1"/>
</p:tagLst>
</file>

<file path=ppt/tags/tag395.xml><?xml version="1.0" encoding="utf-8"?>
<p:tagLst xmlns:a="http://schemas.openxmlformats.org/drawingml/2006/main" xmlns:r="http://schemas.openxmlformats.org/officeDocument/2006/relationships" xmlns:p="http://schemas.openxmlformats.org/presentationml/2006/main">
  <p:tag name="AGENDA_2_ASSOC" val="-1"/>
</p:tagLst>
</file>

<file path=ppt/tags/tag396.xml><?xml version="1.0" encoding="utf-8"?>
<p:tagLst xmlns:a="http://schemas.openxmlformats.org/drawingml/2006/main" xmlns:r="http://schemas.openxmlformats.org/officeDocument/2006/relationships" xmlns:p="http://schemas.openxmlformats.org/presentationml/2006/main">
  <p:tag name="AGENDA_3_ASSOC" val="-1"/>
</p:tagLst>
</file>

<file path=ppt/tags/tag397.xml><?xml version="1.0" encoding="utf-8"?>
<p:tagLst xmlns:a="http://schemas.openxmlformats.org/drawingml/2006/main" xmlns:r="http://schemas.openxmlformats.org/officeDocument/2006/relationships" xmlns:p="http://schemas.openxmlformats.org/presentationml/2006/main">
  <p:tag name="AGENDA_2" val="-1"/>
</p:tagLst>
</file>

<file path=ppt/tags/tag398.xml><?xml version="1.0" encoding="utf-8"?>
<p:tagLst xmlns:a="http://schemas.openxmlformats.org/drawingml/2006/main" xmlns:r="http://schemas.openxmlformats.org/officeDocument/2006/relationships" xmlns:p="http://schemas.openxmlformats.org/presentationml/2006/main">
  <p:tag name="AGENDA_3" val="-1"/>
</p:tagLst>
</file>

<file path=ppt/tags/tag399.xml><?xml version="1.0" encoding="utf-8"?>
<p:tagLst xmlns:a="http://schemas.openxmlformats.org/drawingml/2006/main" xmlns:r="http://schemas.openxmlformats.org/officeDocument/2006/relationships" xmlns:p="http://schemas.openxmlformats.org/presentationml/2006/main">
  <p:tag name="AGENDA_1" val="-1"/>
</p:tagLst>
</file>

<file path=ppt/tags/tag4.xml><?xml version="1.0" encoding="utf-8"?>
<p:tagLst xmlns:a="http://schemas.openxmlformats.org/drawingml/2006/main" xmlns:r="http://schemas.openxmlformats.org/officeDocument/2006/relationships" xmlns:p="http://schemas.openxmlformats.org/presentationml/2006/main">
  <p:tag name="AGENDA_2_ASSOC" val="-1"/>
</p:tagLst>
</file>

<file path=ppt/tags/tag40.xml><?xml version="1.0" encoding="utf-8"?>
<p:tagLst xmlns:a="http://schemas.openxmlformats.org/drawingml/2006/main" xmlns:r="http://schemas.openxmlformats.org/officeDocument/2006/relationships" xmlns:p="http://schemas.openxmlformats.org/presentationml/2006/main">
  <p:tag name="AGENDA_2" val="-1"/>
</p:tagLst>
</file>

<file path=ppt/tags/tag400.xml><?xml version="1.0" encoding="utf-8"?>
<p:tagLst xmlns:a="http://schemas.openxmlformats.org/drawingml/2006/main" xmlns:r="http://schemas.openxmlformats.org/officeDocument/2006/relationships" xmlns:p="http://schemas.openxmlformats.org/presentationml/2006/main">
  <p:tag name="AGENDA_2_ASSOC" val="-1"/>
</p:tagLst>
</file>

<file path=ppt/tags/tag401.xml><?xml version="1.0" encoding="utf-8"?>
<p:tagLst xmlns:a="http://schemas.openxmlformats.org/drawingml/2006/main" xmlns:r="http://schemas.openxmlformats.org/officeDocument/2006/relationships" xmlns:p="http://schemas.openxmlformats.org/presentationml/2006/main">
  <p:tag name="AGENDA_3_ASSOC" val="-1"/>
</p:tagLst>
</file>

<file path=ppt/tags/tag402.xml><?xml version="1.0" encoding="utf-8"?>
<p:tagLst xmlns:a="http://schemas.openxmlformats.org/drawingml/2006/main" xmlns:r="http://schemas.openxmlformats.org/officeDocument/2006/relationships" xmlns:p="http://schemas.openxmlformats.org/presentationml/2006/main">
  <p:tag name="AGENDA_2" val="-1"/>
</p:tagLst>
</file>

<file path=ppt/tags/tag403.xml><?xml version="1.0" encoding="utf-8"?>
<p:tagLst xmlns:a="http://schemas.openxmlformats.org/drawingml/2006/main" xmlns:r="http://schemas.openxmlformats.org/officeDocument/2006/relationships" xmlns:p="http://schemas.openxmlformats.org/presentationml/2006/main">
  <p:tag name="AGENDA_3" val="-1"/>
</p:tagLst>
</file>

<file path=ppt/tags/tag404.xml><?xml version="1.0" encoding="utf-8"?>
<p:tagLst xmlns:a="http://schemas.openxmlformats.org/drawingml/2006/main" xmlns:r="http://schemas.openxmlformats.org/officeDocument/2006/relationships" xmlns:p="http://schemas.openxmlformats.org/presentationml/2006/main">
  <p:tag name="AGENDA_2" val="-1"/>
</p:tagLst>
</file>

<file path=ppt/tags/tag405.xml><?xml version="1.0" encoding="utf-8"?>
<p:tagLst xmlns:a="http://schemas.openxmlformats.org/drawingml/2006/main" xmlns:r="http://schemas.openxmlformats.org/officeDocument/2006/relationships" xmlns:p="http://schemas.openxmlformats.org/presentationml/2006/main">
  <p:tag name="AGENDA_2" val="-1"/>
</p:tagLst>
</file>

<file path=ppt/tags/tag406.xml><?xml version="1.0" encoding="utf-8"?>
<p:tagLst xmlns:a="http://schemas.openxmlformats.org/drawingml/2006/main" xmlns:r="http://schemas.openxmlformats.org/officeDocument/2006/relationships" xmlns:p="http://schemas.openxmlformats.org/presentationml/2006/main">
  <p:tag name="AGENDA_2" val="-1"/>
</p:tagLst>
</file>

<file path=ppt/tags/tag407.xml><?xml version="1.0" encoding="utf-8"?>
<p:tagLst xmlns:a="http://schemas.openxmlformats.org/drawingml/2006/main" xmlns:r="http://schemas.openxmlformats.org/officeDocument/2006/relationships" xmlns:p="http://schemas.openxmlformats.org/presentationml/2006/main">
  <p:tag name="AGENDA_2" val="-1"/>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AGENDA_1_ASSOC" val="-1"/>
</p:tagLst>
</file>

<file path=ppt/tags/tag41.xml><?xml version="1.0" encoding="utf-8"?>
<p:tagLst xmlns:a="http://schemas.openxmlformats.org/drawingml/2006/main" xmlns:r="http://schemas.openxmlformats.org/officeDocument/2006/relationships" xmlns:p="http://schemas.openxmlformats.org/presentationml/2006/main">
  <p:tag name="AGENDA_2" val="-1"/>
</p:tagLst>
</file>

<file path=ppt/tags/tag410.xml><?xml version="1.0" encoding="utf-8"?>
<p:tagLst xmlns:a="http://schemas.openxmlformats.org/drawingml/2006/main" xmlns:r="http://schemas.openxmlformats.org/officeDocument/2006/relationships" xmlns:p="http://schemas.openxmlformats.org/presentationml/2006/main">
  <p:tag name="AGENDA_2_ASSOC" val="-1"/>
</p:tagLst>
</file>

<file path=ppt/tags/tag411.xml><?xml version="1.0" encoding="utf-8"?>
<p:tagLst xmlns:a="http://schemas.openxmlformats.org/drawingml/2006/main" xmlns:r="http://schemas.openxmlformats.org/officeDocument/2006/relationships" xmlns:p="http://schemas.openxmlformats.org/presentationml/2006/main">
  <p:tag name="AGENDA_3_ASSOC" val="-1"/>
</p:tagLst>
</file>

<file path=ppt/tags/tag412.xml><?xml version="1.0" encoding="utf-8"?>
<p:tagLst xmlns:a="http://schemas.openxmlformats.org/drawingml/2006/main" xmlns:r="http://schemas.openxmlformats.org/officeDocument/2006/relationships" xmlns:p="http://schemas.openxmlformats.org/presentationml/2006/main">
  <p:tag name="AGENDA_2" val="-1"/>
</p:tagLst>
</file>

<file path=ppt/tags/tag413.xml><?xml version="1.0" encoding="utf-8"?>
<p:tagLst xmlns:a="http://schemas.openxmlformats.org/drawingml/2006/main" xmlns:r="http://schemas.openxmlformats.org/officeDocument/2006/relationships" xmlns:p="http://schemas.openxmlformats.org/presentationml/2006/main">
  <p:tag name="AGENDA_3" val="-1"/>
</p:tagLst>
</file>

<file path=ppt/tags/tag414.xml><?xml version="1.0" encoding="utf-8"?>
<p:tagLst xmlns:a="http://schemas.openxmlformats.org/drawingml/2006/main" xmlns:r="http://schemas.openxmlformats.org/officeDocument/2006/relationships" xmlns:p="http://schemas.openxmlformats.org/presentationml/2006/main">
  <p:tag name="AGENDA_1" val="-1"/>
</p:tagLst>
</file>

<file path=ppt/tags/tag415.xml><?xml version="1.0" encoding="utf-8"?>
<p:tagLst xmlns:a="http://schemas.openxmlformats.org/drawingml/2006/main" xmlns:r="http://schemas.openxmlformats.org/officeDocument/2006/relationships" xmlns:p="http://schemas.openxmlformats.org/presentationml/2006/main">
  <p:tag name="AGENDA_1_ASSOC" val="-1"/>
</p:tagLst>
</file>

<file path=ppt/tags/tag416.xml><?xml version="1.0" encoding="utf-8"?>
<p:tagLst xmlns:a="http://schemas.openxmlformats.org/drawingml/2006/main" xmlns:r="http://schemas.openxmlformats.org/officeDocument/2006/relationships" xmlns:p="http://schemas.openxmlformats.org/presentationml/2006/main">
  <p:tag name="AGENDA_2_ASSOC" val="-1"/>
</p:tagLst>
</file>

<file path=ppt/tags/tag417.xml><?xml version="1.0" encoding="utf-8"?>
<p:tagLst xmlns:a="http://schemas.openxmlformats.org/drawingml/2006/main" xmlns:r="http://schemas.openxmlformats.org/officeDocument/2006/relationships" xmlns:p="http://schemas.openxmlformats.org/presentationml/2006/main">
  <p:tag name="AGENDA_3_ASSOC" val="-1"/>
</p:tagLst>
</file>

<file path=ppt/tags/tag418.xml><?xml version="1.0" encoding="utf-8"?>
<p:tagLst xmlns:a="http://schemas.openxmlformats.org/drawingml/2006/main" xmlns:r="http://schemas.openxmlformats.org/officeDocument/2006/relationships" xmlns:p="http://schemas.openxmlformats.org/presentationml/2006/main">
  <p:tag name="AGENDA_2" val="-1"/>
</p:tagLst>
</file>

<file path=ppt/tags/tag419.xml><?xml version="1.0" encoding="utf-8"?>
<p:tagLst xmlns:a="http://schemas.openxmlformats.org/drawingml/2006/main" xmlns:r="http://schemas.openxmlformats.org/officeDocument/2006/relationships" xmlns:p="http://schemas.openxmlformats.org/presentationml/2006/main">
  <p:tag name="AGENDA_3" val="-1"/>
</p:tagLst>
</file>

<file path=ppt/tags/tag42.xml><?xml version="1.0" encoding="utf-8"?>
<p:tagLst xmlns:a="http://schemas.openxmlformats.org/drawingml/2006/main" xmlns:r="http://schemas.openxmlformats.org/officeDocument/2006/relationships" xmlns:p="http://schemas.openxmlformats.org/presentationml/2006/main">
  <p:tag name="AGENDA_2" val="-1"/>
</p:tagLst>
</file>

<file path=ppt/tags/tag420.xml><?xml version="1.0" encoding="utf-8"?>
<p:tagLst xmlns:a="http://schemas.openxmlformats.org/drawingml/2006/main" xmlns:r="http://schemas.openxmlformats.org/officeDocument/2006/relationships" xmlns:p="http://schemas.openxmlformats.org/presentationml/2006/main">
  <p:tag name="AGENDA_1" val="-1"/>
</p:tagLst>
</file>

<file path=ppt/tags/tag421.xml><?xml version="1.0" encoding="utf-8"?>
<p:tagLst xmlns:a="http://schemas.openxmlformats.org/drawingml/2006/main" xmlns:r="http://schemas.openxmlformats.org/officeDocument/2006/relationships" xmlns:p="http://schemas.openxmlformats.org/presentationml/2006/main">
  <p:tag name="AGENDA_2_ASSOC" val="-1"/>
</p:tagLst>
</file>

<file path=ppt/tags/tag422.xml><?xml version="1.0" encoding="utf-8"?>
<p:tagLst xmlns:a="http://schemas.openxmlformats.org/drawingml/2006/main" xmlns:r="http://schemas.openxmlformats.org/officeDocument/2006/relationships" xmlns:p="http://schemas.openxmlformats.org/presentationml/2006/main">
  <p:tag name="AGENDA_2" val="-1"/>
</p:tagLst>
</file>

<file path=ppt/tags/tag423.xml><?xml version="1.0" encoding="utf-8"?>
<p:tagLst xmlns:a="http://schemas.openxmlformats.org/drawingml/2006/main" xmlns:r="http://schemas.openxmlformats.org/officeDocument/2006/relationships" xmlns:p="http://schemas.openxmlformats.org/presentationml/2006/main">
  <p:tag name="AGENDA_2" val="-1"/>
</p:tagLst>
</file>

<file path=ppt/tags/tag424.xml><?xml version="1.0" encoding="utf-8"?>
<p:tagLst xmlns:a="http://schemas.openxmlformats.org/drawingml/2006/main" xmlns:r="http://schemas.openxmlformats.org/officeDocument/2006/relationships" xmlns:p="http://schemas.openxmlformats.org/presentationml/2006/main">
  <p:tag name="AGENDA_2" val="-1"/>
</p:tagLst>
</file>

<file path=ppt/tags/tag425.xml><?xml version="1.0" encoding="utf-8"?>
<p:tagLst xmlns:a="http://schemas.openxmlformats.org/drawingml/2006/main" xmlns:r="http://schemas.openxmlformats.org/officeDocument/2006/relationships" xmlns:p="http://schemas.openxmlformats.org/presentationml/2006/main">
  <p:tag name="AGENDA_2" val="-1"/>
</p:tagLst>
</file>

<file path=ppt/tags/tag426.xml><?xml version="1.0" encoding="utf-8"?>
<p:tagLst xmlns:a="http://schemas.openxmlformats.org/drawingml/2006/main" xmlns:r="http://schemas.openxmlformats.org/officeDocument/2006/relationships" xmlns:p="http://schemas.openxmlformats.org/presentationml/2006/main">
  <p:tag name="AGENDA_2" val="-1"/>
</p:tagLst>
</file>

<file path=ppt/tags/tag427.xml><?xml version="1.0" encoding="utf-8"?>
<p:tagLst xmlns:a="http://schemas.openxmlformats.org/drawingml/2006/main" xmlns:r="http://schemas.openxmlformats.org/officeDocument/2006/relationships" xmlns:p="http://schemas.openxmlformats.org/presentationml/2006/main">
  <p:tag name="AGENDA_3_ASSOC" val="-1"/>
</p:tagLst>
</file>

<file path=ppt/tags/tag428.xml><?xml version="1.0" encoding="utf-8"?>
<p:tagLst xmlns:a="http://schemas.openxmlformats.org/drawingml/2006/main" xmlns:r="http://schemas.openxmlformats.org/officeDocument/2006/relationships" xmlns:p="http://schemas.openxmlformats.org/presentationml/2006/main">
  <p:tag name="AGENDA_3" val="-1"/>
</p:tagLst>
</file>

<file path=ppt/tags/tag429.xml><?xml version="1.0" encoding="utf-8"?>
<p:tagLst xmlns:a="http://schemas.openxmlformats.org/drawingml/2006/main" xmlns:r="http://schemas.openxmlformats.org/officeDocument/2006/relationships" xmlns:p="http://schemas.openxmlformats.org/presentationml/2006/main">
  <p:tag name="AGENDA_3" val="-1"/>
</p:tagLst>
</file>

<file path=ppt/tags/tag43.xml><?xml version="1.0" encoding="utf-8"?>
<p:tagLst xmlns:a="http://schemas.openxmlformats.org/drawingml/2006/main" xmlns:r="http://schemas.openxmlformats.org/officeDocument/2006/relationships" xmlns:p="http://schemas.openxmlformats.org/presentationml/2006/main">
  <p:tag name="AGENDA_2" val="-1"/>
</p:tagLst>
</file>

<file path=ppt/tags/tag430.xml><?xml version="1.0" encoding="utf-8"?>
<p:tagLst xmlns:a="http://schemas.openxmlformats.org/drawingml/2006/main" xmlns:r="http://schemas.openxmlformats.org/officeDocument/2006/relationships" xmlns:p="http://schemas.openxmlformats.org/presentationml/2006/main">
  <p:tag name="AGENDA_3" val="-1"/>
</p:tagLst>
</file>

<file path=ppt/tags/tag431.xml><?xml version="1.0" encoding="utf-8"?>
<p:tagLst xmlns:a="http://schemas.openxmlformats.org/drawingml/2006/main" xmlns:r="http://schemas.openxmlformats.org/officeDocument/2006/relationships" xmlns:p="http://schemas.openxmlformats.org/presentationml/2006/main">
  <p:tag name="AGENDA_3" val="-1"/>
</p:tagLst>
</file>

<file path=ppt/tags/tag432.xml><?xml version="1.0" encoding="utf-8"?>
<p:tagLst xmlns:a="http://schemas.openxmlformats.org/drawingml/2006/main" xmlns:r="http://schemas.openxmlformats.org/officeDocument/2006/relationships" xmlns:p="http://schemas.openxmlformats.org/presentationml/2006/main">
  <p:tag name="AGENDA_3_ASSOC" val="-1"/>
</p:tagLst>
</file>

<file path=ppt/tags/tag433.xml><?xml version="1.0" encoding="utf-8"?>
<p:tagLst xmlns:a="http://schemas.openxmlformats.org/drawingml/2006/main" xmlns:r="http://schemas.openxmlformats.org/officeDocument/2006/relationships" xmlns:p="http://schemas.openxmlformats.org/presentationml/2006/main">
  <p:tag name="AGENDA_3_ASSOC" val="-1"/>
</p:tagLst>
</file>

<file path=ppt/tags/tag434.xml><?xml version="1.0" encoding="utf-8"?>
<p:tagLst xmlns:a="http://schemas.openxmlformats.org/drawingml/2006/main" xmlns:r="http://schemas.openxmlformats.org/officeDocument/2006/relationships" xmlns:p="http://schemas.openxmlformats.org/presentationml/2006/main">
  <p:tag name="AGENDA_3_ASSOC" val="-1"/>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GENDA_1_ASSOC" val="-1"/>
</p:tagLst>
</file>

<file path=ppt/tags/tag46.xml><?xml version="1.0" encoding="utf-8"?>
<p:tagLst xmlns:a="http://schemas.openxmlformats.org/drawingml/2006/main" xmlns:r="http://schemas.openxmlformats.org/officeDocument/2006/relationships" xmlns:p="http://schemas.openxmlformats.org/presentationml/2006/main">
  <p:tag name="AGENDA_2_ASSOC" val="-1"/>
</p:tagLst>
</file>

<file path=ppt/tags/tag47.xml><?xml version="1.0" encoding="utf-8"?>
<p:tagLst xmlns:a="http://schemas.openxmlformats.org/drawingml/2006/main" xmlns:r="http://schemas.openxmlformats.org/officeDocument/2006/relationships" xmlns:p="http://schemas.openxmlformats.org/presentationml/2006/main">
  <p:tag name="AGENDA_3_ASSOC" val="-1"/>
</p:tagLst>
</file>

<file path=ppt/tags/tag48.xml><?xml version="1.0" encoding="utf-8"?>
<p:tagLst xmlns:a="http://schemas.openxmlformats.org/drawingml/2006/main" xmlns:r="http://schemas.openxmlformats.org/officeDocument/2006/relationships" xmlns:p="http://schemas.openxmlformats.org/presentationml/2006/main">
  <p:tag name="AGENDA_2" val="-1"/>
</p:tagLst>
</file>

<file path=ppt/tags/tag49.xml><?xml version="1.0" encoding="utf-8"?>
<p:tagLst xmlns:a="http://schemas.openxmlformats.org/drawingml/2006/main" xmlns:r="http://schemas.openxmlformats.org/officeDocument/2006/relationships" xmlns:p="http://schemas.openxmlformats.org/presentationml/2006/main">
  <p:tag name="AGENDA_3" val="-1"/>
</p:tagLst>
</file>

<file path=ppt/tags/tag5.xml><?xml version="1.0" encoding="utf-8"?>
<p:tagLst xmlns:a="http://schemas.openxmlformats.org/drawingml/2006/main" xmlns:r="http://schemas.openxmlformats.org/officeDocument/2006/relationships" xmlns:p="http://schemas.openxmlformats.org/presentationml/2006/main">
  <p:tag name="AGENDA_3_ASSOC" val="-1"/>
</p:tagLst>
</file>

<file path=ppt/tags/tag50.xml><?xml version="1.0" encoding="utf-8"?>
<p:tagLst xmlns:a="http://schemas.openxmlformats.org/drawingml/2006/main" xmlns:r="http://schemas.openxmlformats.org/officeDocument/2006/relationships" xmlns:p="http://schemas.openxmlformats.org/presentationml/2006/main">
  <p:tag name="AGENDA_1" val="-1"/>
</p:tagLst>
</file>

<file path=ppt/tags/tag51.xml><?xml version="1.0" encoding="utf-8"?>
<p:tagLst xmlns:a="http://schemas.openxmlformats.org/drawingml/2006/main" xmlns:r="http://schemas.openxmlformats.org/officeDocument/2006/relationships" xmlns:p="http://schemas.openxmlformats.org/presentationml/2006/main">
  <p:tag name="AGENDA_1_ASSOC" val="-1"/>
</p:tagLst>
</file>

<file path=ppt/tags/tag52.xml><?xml version="1.0" encoding="utf-8"?>
<p:tagLst xmlns:a="http://schemas.openxmlformats.org/drawingml/2006/main" xmlns:r="http://schemas.openxmlformats.org/officeDocument/2006/relationships" xmlns:p="http://schemas.openxmlformats.org/presentationml/2006/main">
  <p:tag name="AGENDA_2_ASSOC" val="-1"/>
</p:tagLst>
</file>

<file path=ppt/tags/tag53.xml><?xml version="1.0" encoding="utf-8"?>
<p:tagLst xmlns:a="http://schemas.openxmlformats.org/drawingml/2006/main" xmlns:r="http://schemas.openxmlformats.org/officeDocument/2006/relationships" xmlns:p="http://schemas.openxmlformats.org/presentationml/2006/main">
  <p:tag name="AGENDA_3_ASSOC" val="-1"/>
</p:tagLst>
</file>

<file path=ppt/tags/tag54.xml><?xml version="1.0" encoding="utf-8"?>
<p:tagLst xmlns:a="http://schemas.openxmlformats.org/drawingml/2006/main" xmlns:r="http://schemas.openxmlformats.org/officeDocument/2006/relationships" xmlns:p="http://schemas.openxmlformats.org/presentationml/2006/main">
  <p:tag name="AGENDA_2" val="-1"/>
</p:tagLst>
</file>

<file path=ppt/tags/tag55.xml><?xml version="1.0" encoding="utf-8"?>
<p:tagLst xmlns:a="http://schemas.openxmlformats.org/drawingml/2006/main" xmlns:r="http://schemas.openxmlformats.org/officeDocument/2006/relationships" xmlns:p="http://schemas.openxmlformats.org/presentationml/2006/main">
  <p:tag name="AGENDA_3" val="-1"/>
</p:tagLst>
</file>

<file path=ppt/tags/tag56.xml><?xml version="1.0" encoding="utf-8"?>
<p:tagLst xmlns:a="http://schemas.openxmlformats.org/drawingml/2006/main" xmlns:r="http://schemas.openxmlformats.org/officeDocument/2006/relationships" xmlns:p="http://schemas.openxmlformats.org/presentationml/2006/main">
  <p:tag name="AGENDA_1" val="-1"/>
</p:tagLst>
</file>

<file path=ppt/tags/tag57.xml><?xml version="1.0" encoding="utf-8"?>
<p:tagLst xmlns:a="http://schemas.openxmlformats.org/drawingml/2006/main" xmlns:r="http://schemas.openxmlformats.org/officeDocument/2006/relationships" xmlns:p="http://schemas.openxmlformats.org/presentationml/2006/main">
  <p:tag name="AGENDA_2_ASSOC" val="-1"/>
</p:tagLst>
</file>

<file path=ppt/tags/tag58.xml><?xml version="1.0" encoding="utf-8"?>
<p:tagLst xmlns:a="http://schemas.openxmlformats.org/drawingml/2006/main" xmlns:r="http://schemas.openxmlformats.org/officeDocument/2006/relationships" xmlns:p="http://schemas.openxmlformats.org/presentationml/2006/main">
  <p:tag name="AGENDA_3_ASSOC" val="-1"/>
</p:tagLst>
</file>

<file path=ppt/tags/tag59.xml><?xml version="1.0" encoding="utf-8"?>
<p:tagLst xmlns:a="http://schemas.openxmlformats.org/drawingml/2006/main" xmlns:r="http://schemas.openxmlformats.org/officeDocument/2006/relationships" xmlns:p="http://schemas.openxmlformats.org/presentationml/2006/main">
  <p:tag name="AGENDA_2" val="-1"/>
</p:tagLst>
</file>

<file path=ppt/tags/tag6.xml><?xml version="1.0" encoding="utf-8"?>
<p:tagLst xmlns:a="http://schemas.openxmlformats.org/drawingml/2006/main" xmlns:r="http://schemas.openxmlformats.org/officeDocument/2006/relationships" xmlns:p="http://schemas.openxmlformats.org/presentationml/2006/main">
  <p:tag name="AGENDA_2" val="-1"/>
</p:tagLst>
</file>

<file path=ppt/tags/tag60.xml><?xml version="1.0" encoding="utf-8"?>
<p:tagLst xmlns:a="http://schemas.openxmlformats.org/drawingml/2006/main" xmlns:r="http://schemas.openxmlformats.org/officeDocument/2006/relationships" xmlns:p="http://schemas.openxmlformats.org/presentationml/2006/main">
  <p:tag name="AGENDA_3" val="-1"/>
</p:tagLst>
</file>

<file path=ppt/tags/tag61.xml><?xml version="1.0" encoding="utf-8"?>
<p:tagLst xmlns:a="http://schemas.openxmlformats.org/drawingml/2006/main" xmlns:r="http://schemas.openxmlformats.org/officeDocument/2006/relationships" xmlns:p="http://schemas.openxmlformats.org/presentationml/2006/main">
  <p:tag name="AGENDA_2" val="-1"/>
</p:tagLst>
</file>

<file path=ppt/tags/tag62.xml><?xml version="1.0" encoding="utf-8"?>
<p:tagLst xmlns:a="http://schemas.openxmlformats.org/drawingml/2006/main" xmlns:r="http://schemas.openxmlformats.org/officeDocument/2006/relationships" xmlns:p="http://schemas.openxmlformats.org/presentationml/2006/main">
  <p:tag name="AGENDA_2" val="-1"/>
</p:tagLst>
</file>

<file path=ppt/tags/tag63.xml><?xml version="1.0" encoding="utf-8"?>
<p:tagLst xmlns:a="http://schemas.openxmlformats.org/drawingml/2006/main" xmlns:r="http://schemas.openxmlformats.org/officeDocument/2006/relationships" xmlns:p="http://schemas.openxmlformats.org/presentationml/2006/main">
  <p:tag name="AGENDA_2" val="-1"/>
</p:tagLst>
</file>

<file path=ppt/tags/tag64.xml><?xml version="1.0" encoding="utf-8"?>
<p:tagLst xmlns:a="http://schemas.openxmlformats.org/drawingml/2006/main" xmlns:r="http://schemas.openxmlformats.org/officeDocument/2006/relationships" xmlns:p="http://schemas.openxmlformats.org/presentationml/2006/main">
  <p:tag name="AGENDA_2"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GENDA_1_ASSOC" val="-1"/>
</p:tagLst>
</file>

<file path=ppt/tags/tag67.xml><?xml version="1.0" encoding="utf-8"?>
<p:tagLst xmlns:a="http://schemas.openxmlformats.org/drawingml/2006/main" xmlns:r="http://schemas.openxmlformats.org/officeDocument/2006/relationships" xmlns:p="http://schemas.openxmlformats.org/presentationml/2006/main">
  <p:tag name="AGENDA_2_ASSOC" val="-1"/>
</p:tagLst>
</file>

<file path=ppt/tags/tag68.xml><?xml version="1.0" encoding="utf-8"?>
<p:tagLst xmlns:a="http://schemas.openxmlformats.org/drawingml/2006/main" xmlns:r="http://schemas.openxmlformats.org/officeDocument/2006/relationships" xmlns:p="http://schemas.openxmlformats.org/presentationml/2006/main">
  <p:tag name="AGENDA_3_ASSOC" val="-1"/>
</p:tagLst>
</file>

<file path=ppt/tags/tag69.xml><?xml version="1.0" encoding="utf-8"?>
<p:tagLst xmlns:a="http://schemas.openxmlformats.org/drawingml/2006/main" xmlns:r="http://schemas.openxmlformats.org/officeDocument/2006/relationships" xmlns:p="http://schemas.openxmlformats.org/presentationml/2006/main">
  <p:tag name="AGENDA_2" val="-1"/>
</p:tagLst>
</file>

<file path=ppt/tags/tag7.xml><?xml version="1.0" encoding="utf-8"?>
<p:tagLst xmlns:a="http://schemas.openxmlformats.org/drawingml/2006/main" xmlns:r="http://schemas.openxmlformats.org/officeDocument/2006/relationships" xmlns:p="http://schemas.openxmlformats.org/presentationml/2006/main">
  <p:tag name="AGENDA_3" val="-1"/>
</p:tagLst>
</file>

<file path=ppt/tags/tag70.xml><?xml version="1.0" encoding="utf-8"?>
<p:tagLst xmlns:a="http://schemas.openxmlformats.org/drawingml/2006/main" xmlns:r="http://schemas.openxmlformats.org/officeDocument/2006/relationships" xmlns:p="http://schemas.openxmlformats.org/presentationml/2006/main">
  <p:tag name="AGENDA_3" val="-1"/>
</p:tagLst>
</file>

<file path=ppt/tags/tag71.xml><?xml version="1.0" encoding="utf-8"?>
<p:tagLst xmlns:a="http://schemas.openxmlformats.org/drawingml/2006/main" xmlns:r="http://schemas.openxmlformats.org/officeDocument/2006/relationships" xmlns:p="http://schemas.openxmlformats.org/presentationml/2006/main">
  <p:tag name="AGENDA_1" val="-1"/>
</p:tagLst>
</file>

<file path=ppt/tags/tag72.xml><?xml version="1.0" encoding="utf-8"?>
<p:tagLst xmlns:a="http://schemas.openxmlformats.org/drawingml/2006/main" xmlns:r="http://schemas.openxmlformats.org/officeDocument/2006/relationships" xmlns:p="http://schemas.openxmlformats.org/presentationml/2006/main">
  <p:tag name="AGENDA_1_ASSOC" val="-1"/>
</p:tagLst>
</file>

<file path=ppt/tags/tag73.xml><?xml version="1.0" encoding="utf-8"?>
<p:tagLst xmlns:a="http://schemas.openxmlformats.org/drawingml/2006/main" xmlns:r="http://schemas.openxmlformats.org/officeDocument/2006/relationships" xmlns:p="http://schemas.openxmlformats.org/presentationml/2006/main">
  <p:tag name="AGENDA_2_ASSOC" val="-1"/>
</p:tagLst>
</file>

<file path=ppt/tags/tag74.xml><?xml version="1.0" encoding="utf-8"?>
<p:tagLst xmlns:a="http://schemas.openxmlformats.org/drawingml/2006/main" xmlns:r="http://schemas.openxmlformats.org/officeDocument/2006/relationships" xmlns:p="http://schemas.openxmlformats.org/presentationml/2006/main">
  <p:tag name="AGENDA_3_ASSOC" val="-1"/>
</p:tagLst>
</file>

<file path=ppt/tags/tag75.xml><?xml version="1.0" encoding="utf-8"?>
<p:tagLst xmlns:a="http://schemas.openxmlformats.org/drawingml/2006/main" xmlns:r="http://schemas.openxmlformats.org/officeDocument/2006/relationships" xmlns:p="http://schemas.openxmlformats.org/presentationml/2006/main">
  <p:tag name="AGENDA_2" val="-1"/>
</p:tagLst>
</file>

<file path=ppt/tags/tag76.xml><?xml version="1.0" encoding="utf-8"?>
<p:tagLst xmlns:a="http://schemas.openxmlformats.org/drawingml/2006/main" xmlns:r="http://schemas.openxmlformats.org/officeDocument/2006/relationships" xmlns:p="http://schemas.openxmlformats.org/presentationml/2006/main">
  <p:tag name="AGENDA_3" val="-1"/>
</p:tagLst>
</file>

<file path=ppt/tags/tag77.xml><?xml version="1.0" encoding="utf-8"?>
<p:tagLst xmlns:a="http://schemas.openxmlformats.org/drawingml/2006/main" xmlns:r="http://schemas.openxmlformats.org/officeDocument/2006/relationships" xmlns:p="http://schemas.openxmlformats.org/presentationml/2006/main">
  <p:tag name="AGENDA_1" val="-1"/>
</p:tagLst>
</file>

<file path=ppt/tags/tag78.xml><?xml version="1.0" encoding="utf-8"?>
<p:tagLst xmlns:a="http://schemas.openxmlformats.org/drawingml/2006/main" xmlns:r="http://schemas.openxmlformats.org/officeDocument/2006/relationships" xmlns:p="http://schemas.openxmlformats.org/presentationml/2006/main">
  <p:tag name="AGENDA_2_ASSOC" val="-1"/>
</p:tagLst>
</file>

<file path=ppt/tags/tag79.xml><?xml version="1.0" encoding="utf-8"?>
<p:tagLst xmlns:a="http://schemas.openxmlformats.org/drawingml/2006/main" xmlns:r="http://schemas.openxmlformats.org/officeDocument/2006/relationships" xmlns:p="http://schemas.openxmlformats.org/presentationml/2006/main">
  <p:tag name="AGENDA_3_ASSOC" val="-1"/>
</p:tagLst>
</file>

<file path=ppt/tags/tag8.xml><?xml version="1.0" encoding="utf-8"?>
<p:tagLst xmlns:a="http://schemas.openxmlformats.org/drawingml/2006/main" xmlns:r="http://schemas.openxmlformats.org/officeDocument/2006/relationships" xmlns:p="http://schemas.openxmlformats.org/presentationml/2006/main">
  <p:tag name="AGENDA_1" val="-1"/>
</p:tagLst>
</file>

<file path=ppt/tags/tag80.xml><?xml version="1.0" encoding="utf-8"?>
<p:tagLst xmlns:a="http://schemas.openxmlformats.org/drawingml/2006/main" xmlns:r="http://schemas.openxmlformats.org/officeDocument/2006/relationships" xmlns:p="http://schemas.openxmlformats.org/presentationml/2006/main">
  <p:tag name="AGENDA_2" val="-1"/>
</p:tagLst>
</file>

<file path=ppt/tags/tag81.xml><?xml version="1.0" encoding="utf-8"?>
<p:tagLst xmlns:a="http://schemas.openxmlformats.org/drawingml/2006/main" xmlns:r="http://schemas.openxmlformats.org/officeDocument/2006/relationships" xmlns:p="http://schemas.openxmlformats.org/presentationml/2006/main">
  <p:tag name="AGENDA_3" val="-1"/>
</p:tagLst>
</file>

<file path=ppt/tags/tag82.xml><?xml version="1.0" encoding="utf-8"?>
<p:tagLst xmlns:a="http://schemas.openxmlformats.org/drawingml/2006/main" xmlns:r="http://schemas.openxmlformats.org/officeDocument/2006/relationships" xmlns:p="http://schemas.openxmlformats.org/presentationml/2006/main">
  <p:tag name="AGENDA_2" val="-1"/>
</p:tagLst>
</file>

<file path=ppt/tags/tag83.xml><?xml version="1.0" encoding="utf-8"?>
<p:tagLst xmlns:a="http://schemas.openxmlformats.org/drawingml/2006/main" xmlns:r="http://schemas.openxmlformats.org/officeDocument/2006/relationships" xmlns:p="http://schemas.openxmlformats.org/presentationml/2006/main">
  <p:tag name="AGENDA_2" val="-1"/>
</p:tagLst>
</file>

<file path=ppt/tags/tag84.xml><?xml version="1.0" encoding="utf-8"?>
<p:tagLst xmlns:a="http://schemas.openxmlformats.org/drawingml/2006/main" xmlns:r="http://schemas.openxmlformats.org/officeDocument/2006/relationships" xmlns:p="http://schemas.openxmlformats.org/presentationml/2006/main">
  <p:tag name="AGENDA_2" val="-1"/>
</p:tagLst>
</file>

<file path=ppt/tags/tag85.xml><?xml version="1.0" encoding="utf-8"?>
<p:tagLst xmlns:a="http://schemas.openxmlformats.org/drawingml/2006/main" xmlns:r="http://schemas.openxmlformats.org/officeDocument/2006/relationships" xmlns:p="http://schemas.openxmlformats.org/presentationml/2006/main">
  <p:tag name="AGENDA_2"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ERragK8Zmh5j.d2lKXHL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GENDA_1_ASSOC"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AGENDA_1_ASSOC" val="-1"/>
</p:tagLst>
</file>

<file path=ppt/tags/tag92.xml><?xml version="1.0" encoding="utf-8"?>
<p:tagLst xmlns:a="http://schemas.openxmlformats.org/drawingml/2006/main" xmlns:r="http://schemas.openxmlformats.org/officeDocument/2006/relationships" xmlns:p="http://schemas.openxmlformats.org/presentationml/2006/main">
  <p:tag name="AGENDA_2_ASSOC" val="-1"/>
</p:tagLst>
</file>

<file path=ppt/tags/tag93.xml><?xml version="1.0" encoding="utf-8"?>
<p:tagLst xmlns:a="http://schemas.openxmlformats.org/drawingml/2006/main" xmlns:r="http://schemas.openxmlformats.org/officeDocument/2006/relationships" xmlns:p="http://schemas.openxmlformats.org/presentationml/2006/main">
  <p:tag name="AGENDA_3_ASSOC" val="-1"/>
</p:tagLst>
</file>

<file path=ppt/tags/tag94.xml><?xml version="1.0" encoding="utf-8"?>
<p:tagLst xmlns:a="http://schemas.openxmlformats.org/drawingml/2006/main" xmlns:r="http://schemas.openxmlformats.org/officeDocument/2006/relationships" xmlns:p="http://schemas.openxmlformats.org/presentationml/2006/main">
  <p:tag name="AGENDA_2" val="-1"/>
</p:tagLst>
</file>

<file path=ppt/tags/tag95.xml><?xml version="1.0" encoding="utf-8"?>
<p:tagLst xmlns:a="http://schemas.openxmlformats.org/drawingml/2006/main" xmlns:r="http://schemas.openxmlformats.org/officeDocument/2006/relationships" xmlns:p="http://schemas.openxmlformats.org/presentationml/2006/main">
  <p:tag name="AGENDA_3" val="-1"/>
</p:tagLst>
</file>

<file path=ppt/tags/tag96.xml><?xml version="1.0" encoding="utf-8"?>
<p:tagLst xmlns:a="http://schemas.openxmlformats.org/drawingml/2006/main" xmlns:r="http://schemas.openxmlformats.org/officeDocument/2006/relationships" xmlns:p="http://schemas.openxmlformats.org/presentationml/2006/main">
  <p:tag name="AGENDA_1" val="-1"/>
</p:tagLst>
</file>

<file path=ppt/tags/tag97.xml><?xml version="1.0" encoding="utf-8"?>
<p:tagLst xmlns:a="http://schemas.openxmlformats.org/drawingml/2006/main" xmlns:r="http://schemas.openxmlformats.org/officeDocument/2006/relationships" xmlns:p="http://schemas.openxmlformats.org/presentationml/2006/main">
  <p:tag name="AGENDA_1_ASSOC" val="-1"/>
</p:tagLst>
</file>

<file path=ppt/tags/tag98.xml><?xml version="1.0" encoding="utf-8"?>
<p:tagLst xmlns:a="http://schemas.openxmlformats.org/drawingml/2006/main" xmlns:r="http://schemas.openxmlformats.org/officeDocument/2006/relationships" xmlns:p="http://schemas.openxmlformats.org/presentationml/2006/main">
  <p:tag name="AGENDA_2_ASSOC" val="-1"/>
</p:tagLst>
</file>

<file path=ppt/tags/tag99.xml><?xml version="1.0" encoding="utf-8"?>
<p:tagLst xmlns:a="http://schemas.openxmlformats.org/drawingml/2006/main" xmlns:r="http://schemas.openxmlformats.org/officeDocument/2006/relationships" xmlns:p="http://schemas.openxmlformats.org/presentationml/2006/main">
  <p:tag name="AGENDA_3_ASSOC" val="-1"/>
</p:tagLst>
</file>

<file path=ppt/theme/theme1.xml><?xml version="1.0" encoding="utf-8"?>
<a:theme xmlns:a="http://schemas.openxmlformats.org/drawingml/2006/main" name="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6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7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8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9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00000"/>
        </a:solidFill>
        <a:ln w="9525" cap="flat" cmpd="sng" algn="ctr">
          <a:solidFill>
            <a:srgbClr val="FF0000"/>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chemeClr val="bg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0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1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Custom 1">
      <a:majorFont>
        <a:latin typeface="Arial Body"/>
        <a:ea typeface=""/>
        <a:cs typeface=""/>
      </a:majorFont>
      <a:minorFont>
        <a:latin typeface="Arial Bod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2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3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Custom 1">
      <a:majorFont>
        <a:latin typeface="Arial Body"/>
        <a:ea typeface=""/>
        <a:cs typeface=""/>
      </a:majorFont>
      <a:minorFont>
        <a:latin typeface="Arial Bod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PresentationGO">
  <a:themeElements>
    <a:clrScheme name="MEMPHIS">
      <a:dk1>
        <a:srgbClr val="484848"/>
      </a:dk1>
      <a:lt1>
        <a:srgbClr val="F1F9F7"/>
      </a:lt1>
      <a:dk2>
        <a:srgbClr val="484848"/>
      </a:dk2>
      <a:lt2>
        <a:srgbClr val="F1F9F7"/>
      </a:lt2>
      <a:accent1>
        <a:srgbClr val="ADDDE0"/>
      </a:accent1>
      <a:accent2>
        <a:srgbClr val="FEDC95"/>
      </a:accent2>
      <a:accent3>
        <a:srgbClr val="6BC8CB"/>
      </a:accent3>
      <a:accent4>
        <a:srgbClr val="FEBF23"/>
      </a:accent4>
      <a:accent5>
        <a:srgbClr val="FBFBFB"/>
      </a:accent5>
      <a:accent6>
        <a:srgbClr val="FD9295"/>
      </a:accent6>
      <a:hlink>
        <a:srgbClr val="FE9295"/>
      </a:hlink>
      <a:folHlink>
        <a:srgbClr val="F5F6F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0253_T_PGO_Arrow-Rings-16x9.pptx" id="{F036825D-3CAA-425F-95F2-8DE8CF32C8DF}" vid="{41D28D26-E08C-4EEB-B0A8-74C15704C1EB}"/>
    </a:ext>
  </a:extLst>
</a:theme>
</file>

<file path=ppt/theme/theme7.xml><?xml version="1.0" encoding="utf-8"?>
<a:theme xmlns:a="http://schemas.openxmlformats.org/drawingml/2006/main" name="2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SSM Default 16x9">
  <a:themeElements>
    <a:clrScheme name="___FINAL___BASU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008080"/>
      </a:hlink>
      <a:folHlink>
        <a:srgbClr val="5FA3DB"/>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00000"/>
        </a:solidFill>
        <a:ln w="9525" cap="flat" cmpd="sng" algn="ctr">
          <a:solidFill>
            <a:srgbClr val="FF0000"/>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smtClean="0">
            <a:ln>
              <a:noFill/>
            </a:ln>
            <a:solidFill>
              <a:schemeClr val="bg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97ab1c1-67af-4fb4-901d-fb0d2d4ffaf5">
      <Terms xmlns="http://schemas.microsoft.com/office/infopath/2007/PartnerControls"/>
    </lcf76f155ced4ddcb4097134ff3c332f>
    <TaxCatchAll xmlns="bf2d1801-5754-4500-9027-9c98a856f91a" xsi:nil="true"/>
    <Refreshdeletioncounter xmlns="697ab1c1-67af-4fb4-901d-fb0d2d4ffaf5">Reset</Refreshdeletioncounter>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7C57E8071FA064AB1CB930810C933A9" ma:contentTypeVersion="15" ma:contentTypeDescription="Create a new document." ma:contentTypeScope="" ma:versionID="669b24780aea21586871da9c6aa3708b">
  <xsd:schema xmlns:xsd="http://www.w3.org/2001/XMLSchema" xmlns:xs="http://www.w3.org/2001/XMLSchema" xmlns:p="http://schemas.microsoft.com/office/2006/metadata/properties" xmlns:ns2="697ab1c1-67af-4fb4-901d-fb0d2d4ffaf5" xmlns:ns3="bf2d1801-5754-4500-9027-9c98a856f91a" targetNamespace="http://schemas.microsoft.com/office/2006/metadata/properties" ma:root="true" ma:fieldsID="d4dc123637e06c378dad7247dbe8415f" ns2:_="" ns3:_="">
    <xsd:import namespace="697ab1c1-67af-4fb4-901d-fb0d2d4ffaf5"/>
    <xsd:import namespace="bf2d1801-5754-4500-9027-9c98a856f91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Refreshdeletioncounter"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7ab1c1-67af-4fb4-901d-fb0d2d4ffa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4089077-eafe-4936-8d62-2b4244383f63"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Refreshdeletioncounter" ma:index="19" nillable="true" ma:displayName="Refresh deletion counter" ma:default="Reset" ma:description="This is to test whether adding this restes the deletion counter" ma:format="Dropdown" ma:internalName="Refreshdeletioncounter">
      <xsd:simpleType>
        <xsd:restriction base="dms:Text">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2d1801-5754-4500-9027-9c98a856f91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13da462b-f2d3-4ac9-a731-8e488f6a4a50}" ma:internalName="TaxCatchAll" ma:showField="CatchAllData" ma:web="bf2d1801-5754-4500-9027-9c98a856f91a">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3860D26-6604-4796-9BEB-B3A675B25597}">
  <ds:schemaRefs>
    <ds:schemaRef ds:uri="697ab1c1-67af-4fb4-901d-fb0d2d4ffaf5"/>
    <ds:schemaRef ds:uri="bf2d1801-5754-4500-9027-9c98a856f9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7E6FEA8-5C01-4B33-8692-59047D8A1E84}">
  <ds:schemaRefs>
    <ds:schemaRef ds:uri="http://schemas.microsoft.com/sharepoint/v3/contenttype/forms"/>
  </ds:schemaRefs>
</ds:datastoreItem>
</file>

<file path=customXml/itemProps3.xml><?xml version="1.0" encoding="utf-8"?>
<ds:datastoreItem xmlns:ds="http://schemas.openxmlformats.org/officeDocument/2006/customXml" ds:itemID="{40FA2972-9C9D-4571-8811-54F0AB663E88}">
  <ds:schemaRefs>
    <ds:schemaRef ds:uri="697ab1c1-67af-4fb4-901d-fb0d2d4ffaf5"/>
    <ds:schemaRef ds:uri="bf2d1801-5754-4500-9027-9c98a856f9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672</TotalTime>
  <Words>1204</Words>
  <Application>Microsoft Office PowerPoint</Application>
  <PresentationFormat>On-screen Show (16:9)</PresentationFormat>
  <Paragraphs>210</Paragraphs>
  <Slides>21</Slides>
  <Notes>16</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21</vt:i4>
      </vt:variant>
    </vt:vector>
  </HeadingPairs>
  <TitlesOfParts>
    <vt:vector size="49" baseType="lpstr">
      <vt:lpstr>Arial</vt:lpstr>
      <vt:lpstr>Arial Black</vt:lpstr>
      <vt:lpstr>Arial Body</vt:lpstr>
      <vt:lpstr>Calibri</vt:lpstr>
      <vt:lpstr>Calibri Light</vt:lpstr>
      <vt:lpstr>Open Sans</vt:lpstr>
      <vt:lpstr>Times</vt:lpstr>
      <vt:lpstr>Wingdings</vt:lpstr>
      <vt:lpstr>SSM Default 16x9</vt:lpstr>
      <vt:lpstr>1_ECB Default</vt:lpstr>
      <vt:lpstr>ECB Default</vt:lpstr>
      <vt:lpstr>1_SSM Default 16x9</vt:lpstr>
      <vt:lpstr>3_ECB Default</vt:lpstr>
      <vt:lpstr>PresentationGO</vt:lpstr>
      <vt:lpstr>2_SSM Default 16x9</vt:lpstr>
      <vt:lpstr>3_SSM Default 16x9</vt:lpstr>
      <vt:lpstr>4_SSM Default 16x9</vt:lpstr>
      <vt:lpstr>5_SSM Default 16x9</vt:lpstr>
      <vt:lpstr>6_SSM Default 16x9</vt:lpstr>
      <vt:lpstr>7_SSM Default 16x9</vt:lpstr>
      <vt:lpstr>8_SSM Default 16x9</vt:lpstr>
      <vt:lpstr>9_SSM Default 16x9</vt:lpstr>
      <vt:lpstr>10_SSM Default 16x9</vt:lpstr>
      <vt:lpstr>11_SSM Default 16x9</vt:lpstr>
      <vt:lpstr>2_ECB Default</vt:lpstr>
      <vt:lpstr>12_SSM Default 16x9</vt:lpstr>
      <vt:lpstr>13_SSM Default 16x9</vt:lpstr>
      <vt:lpstr>think-cell Slide</vt:lpstr>
      <vt:lpstr>Interoperability of DPM 2.0 with SDMX</vt:lpstr>
      <vt:lpstr>Overview</vt:lpstr>
      <vt:lpstr>PowerPoint Presentation</vt:lpstr>
      <vt:lpstr>Introduction to the Data Point Model</vt:lpstr>
      <vt:lpstr>Introduction to the Data Point Model</vt:lpstr>
      <vt:lpstr>Introduction to the Data Point Model</vt:lpstr>
      <vt:lpstr>Introduction to the Data Point Model</vt:lpstr>
      <vt:lpstr>DPM Refit vision</vt:lpstr>
      <vt:lpstr>PowerPoint Presentation</vt:lpstr>
      <vt:lpstr>Overview of the DPM 2.0 Data Model</vt:lpstr>
      <vt:lpstr>Overview of the DPM 2.0 Data Model</vt:lpstr>
      <vt:lpstr>Overview of the DPM 2.0 Data Model</vt:lpstr>
      <vt:lpstr>Overview of the DPM 2.0 Data Model</vt:lpstr>
      <vt:lpstr>Overview of the DPM 2.0 Data Model</vt:lpstr>
      <vt:lpstr>PowerPoint Presentation</vt:lpstr>
      <vt:lpstr>Example of usage of the DPM as ERM</vt:lpstr>
      <vt:lpstr>Example of usage of the DPM with SDMX</vt:lpstr>
      <vt:lpstr>PowerPoint Presentation</vt:lpstr>
      <vt:lpstr>Usage of DPM by IReF</vt:lpstr>
      <vt:lpstr>Usage of DPM by IReF</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ering Committee  Digital Agenda (SCDA)</dc:title>
  <dc:creator>Bottenberg, Konstantin</dc:creator>
  <cp:lastModifiedBy>Wagener Rodriguez, Fernando</cp:lastModifiedBy>
  <cp:revision>174</cp:revision>
  <cp:lastPrinted>2024-01-23T10:28:32Z</cp:lastPrinted>
  <dcterms:created xsi:type="dcterms:W3CDTF">2021-02-04T07:26:19Z</dcterms:created>
  <dcterms:modified xsi:type="dcterms:W3CDTF">2024-10-03T12:1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HeaderLocations">
    <vt:lpwstr>SSM Default 16x9:4\1_ECB Default:4\ECB Default:4\1_SSM Default 16x9:4\3_ECB Default:3\PresentationGO:13\2_SSM Default 16x9:4\3_SSM Default 16x9:4\4_SSM Default 16x9:5\5_SSM Default 16x9:4\6_SSM Default 16x9:5\7_SSM Default 16x9:5\8_SSM Default 16x9:4\9_SSM Default 16x9:5\10_SSM Default 16x9:4\11_SSM Default 16x9:4\2_ECB Default:3</vt:lpwstr>
  </property>
  <property fmtid="{D5CDD505-2E9C-101B-9397-08002B2CF9AE}" pid="3" name="ClassificationContentMarkingHeaderText">
    <vt:lpwstr>ECB-RESTRICTED</vt:lpwstr>
  </property>
  <property fmtid="{D5CDD505-2E9C-101B-9397-08002B2CF9AE}" pid="4" name="ContentTypeId">
    <vt:lpwstr>0x01010087C57E8071FA064AB1CB930810C933A9</vt:lpwstr>
  </property>
  <property fmtid="{D5CDD505-2E9C-101B-9397-08002B2CF9AE}" pid="5" name="MediaServiceImageTags">
    <vt:lpwstr/>
  </property>
  <property fmtid="{D5CDD505-2E9C-101B-9397-08002B2CF9AE}" pid="6" name="MSIP_Label_23da18b0-dae3-4c1e-8278-86f688a3028c_Enabled">
    <vt:lpwstr>true</vt:lpwstr>
  </property>
  <property fmtid="{D5CDD505-2E9C-101B-9397-08002B2CF9AE}" pid="7" name="MSIP_Label_23da18b0-dae3-4c1e-8278-86f688a3028c_SetDate">
    <vt:lpwstr>2024-10-04T06:56:16Z</vt:lpwstr>
  </property>
  <property fmtid="{D5CDD505-2E9C-101B-9397-08002B2CF9AE}" pid="8" name="MSIP_Label_23da18b0-dae3-4c1e-8278-86f688a3028c_Method">
    <vt:lpwstr>Standard</vt:lpwstr>
  </property>
  <property fmtid="{D5CDD505-2E9C-101B-9397-08002B2CF9AE}" pid="9" name="MSIP_Label_23da18b0-dae3-4c1e-8278-86f688a3028c_Name">
    <vt:lpwstr>ECB-RESTRICTED</vt:lpwstr>
  </property>
  <property fmtid="{D5CDD505-2E9C-101B-9397-08002B2CF9AE}" pid="10" name="MSIP_Label_23da18b0-dae3-4c1e-8278-86f688a3028c_SiteId">
    <vt:lpwstr>b84ee435-4816-49d2-8d92-e740dbda4064</vt:lpwstr>
  </property>
  <property fmtid="{D5CDD505-2E9C-101B-9397-08002B2CF9AE}" pid="11" name="MSIP_Label_23da18b0-dae3-4c1e-8278-86f688a3028c_ActionId">
    <vt:lpwstr>654a7ce0-64af-4a75-82b5-21edd4dd6d15</vt:lpwstr>
  </property>
  <property fmtid="{D5CDD505-2E9C-101B-9397-08002B2CF9AE}" pid="12" name="MSIP_Label_23da18b0-dae3-4c1e-8278-86f688a3028c_ContentBits">
    <vt:lpwstr>0</vt:lpwstr>
  </property>
</Properties>
</file>